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tags/tag30.xml" ContentType="application/vnd.openxmlformats-officedocument.presentationml.tags+xml"/>
  <Override PartName="/ppt/notesSlides/notesSlide7.xml" ContentType="application/vnd.openxmlformats-officedocument.presentationml.notesSlide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notesSlides/notesSlide10.xml" ContentType="application/vnd.openxmlformats-officedocument.presentationml.notesSlide+xml"/>
  <Override PartName="/ppt/tags/tag34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35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36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35"/>
  </p:notesMasterIdLst>
  <p:handoutMasterIdLst>
    <p:handoutMasterId r:id="rId36"/>
  </p:handoutMasterIdLst>
  <p:sldIdLst>
    <p:sldId id="739" r:id="rId5"/>
    <p:sldId id="851" r:id="rId6"/>
    <p:sldId id="1512" r:id="rId7"/>
    <p:sldId id="1744" r:id="rId8"/>
    <p:sldId id="1222" r:id="rId9"/>
    <p:sldId id="1747" r:id="rId10"/>
    <p:sldId id="1745" r:id="rId11"/>
    <p:sldId id="1746" r:id="rId12"/>
    <p:sldId id="1751" r:id="rId13"/>
    <p:sldId id="1748" r:id="rId14"/>
    <p:sldId id="1752" r:id="rId15"/>
    <p:sldId id="266" r:id="rId16"/>
    <p:sldId id="270" r:id="rId17"/>
    <p:sldId id="295" r:id="rId18"/>
    <p:sldId id="297" r:id="rId19"/>
    <p:sldId id="298" r:id="rId20"/>
    <p:sldId id="301" r:id="rId21"/>
    <p:sldId id="300" r:id="rId22"/>
    <p:sldId id="1753" r:id="rId23"/>
    <p:sldId id="1754" r:id="rId24"/>
    <p:sldId id="1755" r:id="rId25"/>
    <p:sldId id="1756" r:id="rId26"/>
    <p:sldId id="1757" r:id="rId27"/>
    <p:sldId id="1758" r:id="rId28"/>
    <p:sldId id="1759" r:id="rId29"/>
    <p:sldId id="1760" r:id="rId30"/>
    <p:sldId id="1750" r:id="rId31"/>
    <p:sldId id="290" r:id="rId32"/>
    <p:sldId id="292" r:id="rId33"/>
    <p:sldId id="294" r:id="rId34"/>
  </p:sldIdLst>
  <p:sldSz cx="12192000" cy="6858000"/>
  <p:notesSz cx="7315200" cy="9601200"/>
  <p:custDataLst>
    <p:tags r:id="rId37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ay 1: Introduction/Welcome" id="{FD8C436B-8570-4A6B-9103-4BF083FE19D0}">
          <p14:sldIdLst>
            <p14:sldId id="739"/>
            <p14:sldId id="851"/>
            <p14:sldId id="1512"/>
            <p14:sldId id="1744"/>
            <p14:sldId id="1222"/>
            <p14:sldId id="1747"/>
            <p14:sldId id="1745"/>
            <p14:sldId id="1746"/>
            <p14:sldId id="1751"/>
            <p14:sldId id="1748"/>
            <p14:sldId id="1752"/>
            <p14:sldId id="266"/>
            <p14:sldId id="270"/>
            <p14:sldId id="295"/>
            <p14:sldId id="297"/>
            <p14:sldId id="298"/>
            <p14:sldId id="301"/>
            <p14:sldId id="300"/>
            <p14:sldId id="1753"/>
            <p14:sldId id="1754"/>
            <p14:sldId id="1755"/>
            <p14:sldId id="1756"/>
            <p14:sldId id="1757"/>
            <p14:sldId id="1758"/>
            <p14:sldId id="1759"/>
            <p14:sldId id="1760"/>
            <p14:sldId id="1750"/>
            <p14:sldId id="290"/>
            <p14:sldId id="292"/>
            <p14:sldId id="294"/>
          </p14:sldIdLst>
        </p14:section>
      </p14:sectionLst>
    </p:ex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593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090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4" name="Goldman, Roni" initials="RG" lastIdx="11" clrIdx="12">
    <p:extLst>
      <p:ext uri="{19B8F6BF-5375-455C-9EA6-DF929625EA0E}">
        <p15:presenceInfo xmlns:p15="http://schemas.microsoft.com/office/powerpoint/2012/main" userId="Goldman, Roni" providerId="None"/>
      </p:ext>
    </p:extLst>
  </p:cmAuthor>
  <p:cmAuthor id="1" name="Witt, Erin Margaret" initials="EW" lastIdx="23" clrIdx="0">
    <p:extLst>
      <p:ext uri="{19B8F6BF-5375-455C-9EA6-DF929625EA0E}">
        <p15:presenceInfo xmlns:p15="http://schemas.microsoft.com/office/powerpoint/2012/main" userId="Witt, Erin Margaret" providerId="None"/>
      </p:ext>
    </p:extLst>
  </p:cmAuthor>
  <p:cmAuthor id="15" name="Robinson, Kimberly S (US - Indianapolis)" initials="RKS(-I" lastIdx="2" clrIdx="13">
    <p:extLst>
      <p:ext uri="{19B8F6BF-5375-455C-9EA6-DF929625EA0E}">
        <p15:presenceInfo xmlns:p15="http://schemas.microsoft.com/office/powerpoint/2012/main" userId="S-1-5-21-238447276-1040861923-1850952788-675513" providerId="AD"/>
      </p:ext>
    </p:extLst>
  </p:cmAuthor>
  <p:cmAuthor id="2" name="Kocins, James" initials="JK" lastIdx="9" clrIdx="1">
    <p:extLst>
      <p:ext uri="{19B8F6BF-5375-455C-9EA6-DF929625EA0E}">
        <p15:presenceInfo xmlns:p15="http://schemas.microsoft.com/office/powerpoint/2012/main" userId="Kocins, James" providerId="None"/>
      </p:ext>
    </p:extLst>
  </p:cmAuthor>
  <p:cmAuthor id="3" name="Robinson, Kimberly S" initials="KR" lastIdx="2900" clrIdx="2">
    <p:extLst>
      <p:ext uri="{19B8F6BF-5375-455C-9EA6-DF929625EA0E}">
        <p15:presenceInfo xmlns:p15="http://schemas.microsoft.com/office/powerpoint/2012/main" userId="Robinson, Kimberly S" providerId="None"/>
      </p:ext>
    </p:extLst>
  </p:cmAuthor>
  <p:cmAuthor id="10" name="Lesczynski, Mickey" initials="ML" lastIdx="9" clrIdx="7">
    <p:extLst>
      <p:ext uri="{19B8F6BF-5375-455C-9EA6-DF929625EA0E}">
        <p15:presenceInfo xmlns:p15="http://schemas.microsoft.com/office/powerpoint/2012/main" userId="Lesczynski, Mickey" providerId="None"/>
      </p:ext>
    </p:extLst>
  </p:cmAuthor>
  <p:cmAuthor id="4" name="Mulla, Iftekhar" initials="IM" lastIdx="140" clrIdx="3">
    <p:extLst>
      <p:ext uri="{19B8F6BF-5375-455C-9EA6-DF929625EA0E}">
        <p15:presenceInfo xmlns:p15="http://schemas.microsoft.com/office/powerpoint/2012/main" userId="Mulla, Iftekhar" providerId="None"/>
      </p:ext>
    </p:extLst>
  </p:cmAuthor>
  <p:cmAuthor id="11" name="Gardner, Brenden" initials="BG" lastIdx="30" clrIdx="6">
    <p:extLst>
      <p:ext uri="{19B8F6BF-5375-455C-9EA6-DF929625EA0E}">
        <p15:presenceInfo xmlns:p15="http://schemas.microsoft.com/office/powerpoint/2012/main" userId="Gardner, Brenden" providerId="None"/>
      </p:ext>
    </p:extLst>
  </p:cmAuthor>
  <p:cmAuthor id="5" name="Greer, Rusty" initials="RG" lastIdx="315" clrIdx="4"/>
  <p:cmAuthor id="12" name="Whippen, Reagan Sullivan" initials="RW" lastIdx="90" clrIdx="9">
    <p:extLst>
      <p:ext uri="{19B8F6BF-5375-455C-9EA6-DF929625EA0E}">
        <p15:presenceInfo xmlns:p15="http://schemas.microsoft.com/office/powerpoint/2012/main" userId="Whippen, Reagan Sullivan" providerId="None"/>
      </p:ext>
    </p:extLst>
  </p:cmAuthor>
  <p:cmAuthor id="6" name="Archer, Stephanie" initials="SA" lastIdx="67" clrIdx="10">
    <p:extLst>
      <p:ext uri="{19B8F6BF-5375-455C-9EA6-DF929625EA0E}">
        <p15:presenceInfo xmlns:p15="http://schemas.microsoft.com/office/powerpoint/2012/main" userId="Archer, Stephanie" providerId="None"/>
      </p:ext>
    </p:extLst>
  </p:cmAuthor>
  <p:cmAuthor id="13" name="Singhal, Aakash" initials="AS" lastIdx="45" clrIdx="11">
    <p:extLst>
      <p:ext uri="{19B8F6BF-5375-455C-9EA6-DF929625EA0E}">
        <p15:presenceInfo xmlns:p15="http://schemas.microsoft.com/office/powerpoint/2012/main" userId="Singhal, Aakash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1A5B"/>
    <a:srgbClr val="FA9D1C"/>
    <a:srgbClr val="009EDB"/>
    <a:srgbClr val="20957F"/>
    <a:srgbClr val="A6A6A6"/>
    <a:srgbClr val="FF5B5B"/>
    <a:srgbClr val="0B77C0"/>
    <a:srgbClr val="000000"/>
    <a:srgbClr val="92D059"/>
    <a:srgbClr val="C3D5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3899" autoAdjust="0"/>
  </p:normalViewPr>
  <p:slideViewPr>
    <p:cSldViewPr snapToGrid="0" showGuides="1">
      <p:cViewPr varScale="1">
        <p:scale>
          <a:sx n="92" d="100"/>
          <a:sy n="92" d="100"/>
        </p:scale>
        <p:origin x="288" y="82"/>
      </p:cViewPr>
      <p:guideLst>
        <p:guide/>
        <p:guide orient="horz" pos="2047"/>
        <p:guide orient="horz" pos="1593"/>
        <p:guide orient="horz" pos="2568"/>
        <p:guide orient="horz" pos="3090"/>
        <p:guide orient="horz" pos="3589"/>
      </p:guideLst>
    </p:cSldViewPr>
  </p:slideViewPr>
  <p:outlineViewPr>
    <p:cViewPr>
      <p:scale>
        <a:sx n="33" d="100"/>
        <a:sy n="33" d="100"/>
      </p:scale>
      <p:origin x="0" y="-37432"/>
    </p:cViewPr>
    <p:sldLst>
      <p:sld r:id="rId1" collapse="1"/>
      <p:sld r:id="rId2" collapse="1"/>
    </p:sldLst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3" d="100"/>
          <a:sy n="63" d="100"/>
        </p:scale>
        <p:origin x="3120" y="53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commentAuthors" Target="commentAuthors.xml"/></Relationships>
</file>

<file path=ppt/_rels/viewProps.xml.rels><?xml version="1.0" encoding="UTF-8" standalone="yes"?>
<Relationships xmlns="http://schemas.openxmlformats.org/package/2006/relationships"><Relationship Id="rId2" Type="http://schemas.openxmlformats.org/officeDocument/2006/relationships/slide" Target="slides/slide4.xml"/><Relationship Id="rId1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23.xml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3170138" cy="479539"/>
          </a:xfrm>
          <a:prstGeom prst="rect">
            <a:avLst/>
          </a:prstGeom>
        </p:spPr>
        <p:txBody>
          <a:bodyPr vert="horz" lIns="90900" tIns="45450" rIns="90900" bIns="45450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00" tIns="45450" rIns="90900" bIns="45450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6/18/2020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9120174"/>
            <a:ext cx="3170138" cy="479539"/>
          </a:xfrm>
          <a:prstGeom prst="rect">
            <a:avLst/>
          </a:prstGeom>
        </p:spPr>
        <p:txBody>
          <a:bodyPr vert="horz" lIns="90900" tIns="45450" rIns="90900" bIns="45450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4"/>
            <a:ext cx="3170138" cy="479539"/>
          </a:xfrm>
          <a:prstGeom prst="rect">
            <a:avLst/>
          </a:prstGeom>
        </p:spPr>
        <p:txBody>
          <a:bodyPr vert="horz" lIns="90900" tIns="45450" rIns="90900" bIns="45450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47850" y="766763"/>
            <a:ext cx="4729163" cy="2660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64" tIns="49231" rIns="98464" bIns="49231" rtlCol="0" anchor="ctr"/>
          <a:lstStyle/>
          <a:p>
            <a:endParaRPr lang="en-GB" dirty="0"/>
          </a:p>
        </p:txBody>
      </p:sp>
      <p:sp>
        <p:nvSpPr>
          <p:cNvPr id="9" name="TextBox 8"/>
          <p:cNvSpPr txBox="1"/>
          <p:nvPr/>
        </p:nvSpPr>
        <p:spPr>
          <a:xfrm>
            <a:off x="1495610" y="3689379"/>
            <a:ext cx="5658909" cy="286081"/>
          </a:xfrm>
          <a:prstGeom prst="rect">
            <a:avLst/>
          </a:prstGeom>
          <a:solidFill>
            <a:srgbClr val="92D050"/>
          </a:solidFill>
        </p:spPr>
        <p:txBody>
          <a:bodyPr wrap="square" lIns="94851" tIns="47425" rIns="94851" bIns="47425" rtlCol="0">
            <a:spAutoFit/>
          </a:bodyPr>
          <a:lstStyle/>
          <a:p>
            <a:pPr algn="ctr"/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cilitator talking points</a:t>
            </a:r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1495608" y="3975459"/>
            <a:ext cx="5658910" cy="5436864"/>
          </a:xfrm>
          <a:prstGeom prst="rect">
            <a:avLst/>
          </a:prstGeom>
        </p:spPr>
        <p:txBody>
          <a:bodyPr vert="horz" lIns="94851" tIns="47425" rIns="94851" bIns="47425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3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1pPr>
    <a:lvl2pPr marL="609585" algn="l" defTabSz="1219170" rtl="0" eaLnBrk="1" latinLnBrk="0" hangingPunct="1">
      <a:defRPr sz="13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2pPr>
    <a:lvl3pPr marL="1219170" algn="l" defTabSz="1219170" rtl="0" eaLnBrk="1" latinLnBrk="0" hangingPunct="1">
      <a:defRPr sz="13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3pPr>
    <a:lvl4pPr marL="1828754" algn="l" defTabSz="1219170" rtl="0" eaLnBrk="1" latinLnBrk="0" hangingPunct="1">
      <a:defRPr sz="13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4pPr>
    <a:lvl5pPr marL="2438339" algn="l" defTabSz="1219170" rtl="0" eaLnBrk="1" latinLnBrk="0" hangingPunct="1">
      <a:defRPr sz="13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>
          <a:xfrm>
            <a:off x="1844675" y="765175"/>
            <a:ext cx="4735513" cy="2663825"/>
          </a:xfrm>
        </p:spPr>
      </p:sp>
      <p:sp>
        <p:nvSpPr>
          <p:cNvPr id="8" name="Notes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188695" y="4656721"/>
            <a:ext cx="1147455" cy="667522"/>
            <a:chOff x="136363" y="6047620"/>
            <a:chExt cx="1099644" cy="646331"/>
          </a:xfrm>
        </p:grpSpPr>
        <p:sp>
          <p:nvSpPr>
            <p:cNvPr id="5" name="TextBox 4"/>
            <p:cNvSpPr txBox="1"/>
            <p:nvPr/>
          </p:nvSpPr>
          <p:spPr>
            <a:xfrm>
              <a:off x="136363" y="6047620"/>
              <a:ext cx="1099644" cy="646331"/>
            </a:xfrm>
            <a:prstGeom prst="rect">
              <a:avLst/>
            </a:prstGeom>
            <a:solidFill>
              <a:srgbClr val="92D050"/>
            </a:solidFill>
          </p:spPr>
          <p:txBody>
            <a:bodyPr wrap="square" rtlCol="0" anchor="ctr">
              <a:spAutoFit/>
            </a:bodyPr>
            <a:lstStyle/>
            <a:p>
              <a:endParaRPr lang="en-US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endParaRPr lang="en-US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/>
              <a:endParaRPr lang="en-US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/>
              <a:r>
                <a:rPr lang="en-US" sz="9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ips</a:t>
              </a:r>
            </a:p>
          </p:txBody>
        </p:sp>
        <p:sp>
          <p:nvSpPr>
            <p:cNvPr id="6" name="Freeform 430"/>
            <p:cNvSpPr>
              <a:spLocks noChangeAspect="1" noEditPoints="1"/>
            </p:cNvSpPr>
            <p:nvPr/>
          </p:nvSpPr>
          <p:spPr bwMode="auto">
            <a:xfrm>
              <a:off x="493739" y="6116870"/>
              <a:ext cx="376296" cy="344890"/>
            </a:xfrm>
            <a:custGeom>
              <a:avLst/>
              <a:gdLst>
                <a:gd name="T0" fmla="*/ 235 w 512"/>
                <a:gd name="T1" fmla="*/ 139 h 512"/>
                <a:gd name="T2" fmla="*/ 256 w 512"/>
                <a:gd name="T3" fmla="*/ 118 h 512"/>
                <a:gd name="T4" fmla="*/ 277 w 512"/>
                <a:gd name="T5" fmla="*/ 139 h 512"/>
                <a:gd name="T6" fmla="*/ 256 w 512"/>
                <a:gd name="T7" fmla="*/ 160 h 512"/>
                <a:gd name="T8" fmla="*/ 235 w 512"/>
                <a:gd name="T9" fmla="*/ 139 h 512"/>
                <a:gd name="T10" fmla="*/ 267 w 512"/>
                <a:gd name="T11" fmla="*/ 363 h 512"/>
                <a:gd name="T12" fmla="*/ 267 w 512"/>
                <a:gd name="T13" fmla="*/ 224 h 512"/>
                <a:gd name="T14" fmla="*/ 213 w 512"/>
                <a:gd name="T15" fmla="*/ 224 h 512"/>
                <a:gd name="T16" fmla="*/ 213 w 512"/>
                <a:gd name="T17" fmla="*/ 246 h 512"/>
                <a:gd name="T18" fmla="*/ 235 w 512"/>
                <a:gd name="T19" fmla="*/ 246 h 512"/>
                <a:gd name="T20" fmla="*/ 245 w 512"/>
                <a:gd name="T21" fmla="*/ 256 h 512"/>
                <a:gd name="T22" fmla="*/ 245 w 512"/>
                <a:gd name="T23" fmla="*/ 363 h 512"/>
                <a:gd name="T24" fmla="*/ 235 w 512"/>
                <a:gd name="T25" fmla="*/ 374 h 512"/>
                <a:gd name="T26" fmla="*/ 203 w 512"/>
                <a:gd name="T27" fmla="*/ 374 h 512"/>
                <a:gd name="T28" fmla="*/ 203 w 512"/>
                <a:gd name="T29" fmla="*/ 395 h 512"/>
                <a:gd name="T30" fmla="*/ 309 w 512"/>
                <a:gd name="T31" fmla="*/ 395 h 512"/>
                <a:gd name="T32" fmla="*/ 309 w 512"/>
                <a:gd name="T33" fmla="*/ 374 h 512"/>
                <a:gd name="T34" fmla="*/ 277 w 512"/>
                <a:gd name="T35" fmla="*/ 374 h 512"/>
                <a:gd name="T36" fmla="*/ 267 w 512"/>
                <a:gd name="T37" fmla="*/ 363 h 512"/>
                <a:gd name="T38" fmla="*/ 512 w 512"/>
                <a:gd name="T39" fmla="*/ 256 h 512"/>
                <a:gd name="T40" fmla="*/ 256 w 512"/>
                <a:gd name="T41" fmla="*/ 512 h 512"/>
                <a:gd name="T42" fmla="*/ 0 w 512"/>
                <a:gd name="T43" fmla="*/ 256 h 512"/>
                <a:gd name="T44" fmla="*/ 256 w 512"/>
                <a:gd name="T45" fmla="*/ 0 h 512"/>
                <a:gd name="T46" fmla="*/ 512 w 512"/>
                <a:gd name="T47" fmla="*/ 256 h 512"/>
                <a:gd name="T48" fmla="*/ 213 w 512"/>
                <a:gd name="T49" fmla="*/ 139 h 512"/>
                <a:gd name="T50" fmla="*/ 256 w 512"/>
                <a:gd name="T51" fmla="*/ 182 h 512"/>
                <a:gd name="T52" fmla="*/ 299 w 512"/>
                <a:gd name="T53" fmla="*/ 139 h 512"/>
                <a:gd name="T54" fmla="*/ 256 w 512"/>
                <a:gd name="T55" fmla="*/ 96 h 512"/>
                <a:gd name="T56" fmla="*/ 213 w 512"/>
                <a:gd name="T57" fmla="*/ 139 h 512"/>
                <a:gd name="T58" fmla="*/ 331 w 512"/>
                <a:gd name="T59" fmla="*/ 363 h 512"/>
                <a:gd name="T60" fmla="*/ 320 w 512"/>
                <a:gd name="T61" fmla="*/ 352 h 512"/>
                <a:gd name="T62" fmla="*/ 288 w 512"/>
                <a:gd name="T63" fmla="*/ 352 h 512"/>
                <a:gd name="T64" fmla="*/ 288 w 512"/>
                <a:gd name="T65" fmla="*/ 214 h 512"/>
                <a:gd name="T66" fmla="*/ 277 w 512"/>
                <a:gd name="T67" fmla="*/ 203 h 512"/>
                <a:gd name="T68" fmla="*/ 203 w 512"/>
                <a:gd name="T69" fmla="*/ 203 h 512"/>
                <a:gd name="T70" fmla="*/ 192 w 512"/>
                <a:gd name="T71" fmla="*/ 214 h 512"/>
                <a:gd name="T72" fmla="*/ 192 w 512"/>
                <a:gd name="T73" fmla="*/ 256 h 512"/>
                <a:gd name="T74" fmla="*/ 203 w 512"/>
                <a:gd name="T75" fmla="*/ 267 h 512"/>
                <a:gd name="T76" fmla="*/ 224 w 512"/>
                <a:gd name="T77" fmla="*/ 267 h 512"/>
                <a:gd name="T78" fmla="*/ 224 w 512"/>
                <a:gd name="T79" fmla="*/ 352 h 512"/>
                <a:gd name="T80" fmla="*/ 192 w 512"/>
                <a:gd name="T81" fmla="*/ 352 h 512"/>
                <a:gd name="T82" fmla="*/ 181 w 512"/>
                <a:gd name="T83" fmla="*/ 363 h 512"/>
                <a:gd name="T84" fmla="*/ 181 w 512"/>
                <a:gd name="T85" fmla="*/ 406 h 512"/>
                <a:gd name="T86" fmla="*/ 192 w 512"/>
                <a:gd name="T87" fmla="*/ 416 h 512"/>
                <a:gd name="T88" fmla="*/ 320 w 512"/>
                <a:gd name="T89" fmla="*/ 416 h 512"/>
                <a:gd name="T90" fmla="*/ 331 w 512"/>
                <a:gd name="T91" fmla="*/ 406 h 512"/>
                <a:gd name="T92" fmla="*/ 331 w 512"/>
                <a:gd name="T93" fmla="*/ 36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12" h="512">
                  <a:moveTo>
                    <a:pt x="235" y="139"/>
                  </a:moveTo>
                  <a:cubicBezTo>
                    <a:pt x="235" y="127"/>
                    <a:pt x="244" y="118"/>
                    <a:pt x="256" y="118"/>
                  </a:cubicBezTo>
                  <a:cubicBezTo>
                    <a:pt x="268" y="118"/>
                    <a:pt x="277" y="127"/>
                    <a:pt x="277" y="139"/>
                  </a:cubicBezTo>
                  <a:cubicBezTo>
                    <a:pt x="277" y="151"/>
                    <a:pt x="268" y="160"/>
                    <a:pt x="256" y="160"/>
                  </a:cubicBezTo>
                  <a:cubicBezTo>
                    <a:pt x="244" y="160"/>
                    <a:pt x="235" y="151"/>
                    <a:pt x="235" y="139"/>
                  </a:cubicBezTo>
                  <a:close/>
                  <a:moveTo>
                    <a:pt x="267" y="363"/>
                  </a:moveTo>
                  <a:cubicBezTo>
                    <a:pt x="267" y="224"/>
                    <a:pt x="267" y="224"/>
                    <a:pt x="267" y="224"/>
                  </a:cubicBezTo>
                  <a:cubicBezTo>
                    <a:pt x="213" y="224"/>
                    <a:pt x="213" y="224"/>
                    <a:pt x="213" y="224"/>
                  </a:cubicBezTo>
                  <a:cubicBezTo>
                    <a:pt x="213" y="246"/>
                    <a:pt x="213" y="246"/>
                    <a:pt x="213" y="246"/>
                  </a:cubicBezTo>
                  <a:cubicBezTo>
                    <a:pt x="235" y="246"/>
                    <a:pt x="235" y="246"/>
                    <a:pt x="235" y="246"/>
                  </a:cubicBezTo>
                  <a:cubicBezTo>
                    <a:pt x="241" y="246"/>
                    <a:pt x="245" y="250"/>
                    <a:pt x="245" y="256"/>
                  </a:cubicBezTo>
                  <a:cubicBezTo>
                    <a:pt x="245" y="363"/>
                    <a:pt x="245" y="363"/>
                    <a:pt x="245" y="363"/>
                  </a:cubicBezTo>
                  <a:cubicBezTo>
                    <a:pt x="245" y="369"/>
                    <a:pt x="241" y="374"/>
                    <a:pt x="235" y="374"/>
                  </a:cubicBezTo>
                  <a:cubicBezTo>
                    <a:pt x="203" y="374"/>
                    <a:pt x="203" y="374"/>
                    <a:pt x="203" y="374"/>
                  </a:cubicBezTo>
                  <a:cubicBezTo>
                    <a:pt x="203" y="395"/>
                    <a:pt x="203" y="395"/>
                    <a:pt x="203" y="395"/>
                  </a:cubicBezTo>
                  <a:cubicBezTo>
                    <a:pt x="309" y="395"/>
                    <a:pt x="309" y="395"/>
                    <a:pt x="309" y="395"/>
                  </a:cubicBezTo>
                  <a:cubicBezTo>
                    <a:pt x="309" y="374"/>
                    <a:pt x="309" y="374"/>
                    <a:pt x="309" y="374"/>
                  </a:cubicBezTo>
                  <a:cubicBezTo>
                    <a:pt x="277" y="374"/>
                    <a:pt x="277" y="374"/>
                    <a:pt x="277" y="374"/>
                  </a:cubicBezTo>
                  <a:cubicBezTo>
                    <a:pt x="271" y="374"/>
                    <a:pt x="267" y="369"/>
                    <a:pt x="267" y="363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213" y="139"/>
                  </a:moveTo>
                  <a:cubicBezTo>
                    <a:pt x="213" y="163"/>
                    <a:pt x="232" y="182"/>
                    <a:pt x="256" y="182"/>
                  </a:cubicBezTo>
                  <a:cubicBezTo>
                    <a:pt x="280" y="182"/>
                    <a:pt x="299" y="163"/>
                    <a:pt x="299" y="139"/>
                  </a:cubicBezTo>
                  <a:cubicBezTo>
                    <a:pt x="299" y="115"/>
                    <a:pt x="280" y="96"/>
                    <a:pt x="256" y="96"/>
                  </a:cubicBezTo>
                  <a:cubicBezTo>
                    <a:pt x="232" y="96"/>
                    <a:pt x="213" y="115"/>
                    <a:pt x="213" y="139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288" y="352"/>
                    <a:pt x="288" y="352"/>
                    <a:pt x="288" y="352"/>
                  </a:cubicBezTo>
                  <a:cubicBezTo>
                    <a:pt x="288" y="214"/>
                    <a:pt x="288" y="214"/>
                    <a:pt x="288" y="214"/>
                  </a:cubicBezTo>
                  <a:cubicBezTo>
                    <a:pt x="288" y="208"/>
                    <a:pt x="283" y="203"/>
                    <a:pt x="277" y="203"/>
                  </a:cubicBezTo>
                  <a:cubicBezTo>
                    <a:pt x="203" y="203"/>
                    <a:pt x="203" y="203"/>
                    <a:pt x="203" y="203"/>
                  </a:cubicBezTo>
                  <a:cubicBezTo>
                    <a:pt x="197" y="203"/>
                    <a:pt x="192" y="208"/>
                    <a:pt x="192" y="214"/>
                  </a:cubicBezTo>
                  <a:cubicBezTo>
                    <a:pt x="192" y="256"/>
                    <a:pt x="192" y="256"/>
                    <a:pt x="192" y="256"/>
                  </a:cubicBezTo>
                  <a:cubicBezTo>
                    <a:pt x="192" y="262"/>
                    <a:pt x="197" y="267"/>
                    <a:pt x="203" y="267"/>
                  </a:cubicBezTo>
                  <a:cubicBezTo>
                    <a:pt x="224" y="267"/>
                    <a:pt x="224" y="267"/>
                    <a:pt x="224" y="267"/>
                  </a:cubicBezTo>
                  <a:cubicBezTo>
                    <a:pt x="224" y="352"/>
                    <a:pt x="224" y="352"/>
                    <a:pt x="224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406"/>
                    <a:pt x="181" y="406"/>
                    <a:pt x="181" y="406"/>
                  </a:cubicBezTo>
                  <a:cubicBezTo>
                    <a:pt x="181" y="412"/>
                    <a:pt x="186" y="416"/>
                    <a:pt x="192" y="416"/>
                  </a:cubicBezTo>
                  <a:cubicBezTo>
                    <a:pt x="320" y="416"/>
                    <a:pt x="320" y="416"/>
                    <a:pt x="320" y="416"/>
                  </a:cubicBezTo>
                  <a:cubicBezTo>
                    <a:pt x="326" y="416"/>
                    <a:pt x="331" y="412"/>
                    <a:pt x="331" y="406"/>
                  </a:cubicBezTo>
                  <a:lnTo>
                    <a:pt x="331" y="36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188695" y="1543676"/>
            <a:ext cx="1147455" cy="969497"/>
          </a:xfrm>
          <a:prstGeom prst="rect">
            <a:avLst/>
          </a:prstGeom>
          <a:solidFill>
            <a:srgbClr val="92D050"/>
          </a:solidFill>
        </p:spPr>
        <p:txBody>
          <a:bodyPr wrap="square" lIns="94851" tIns="47425" rIns="94851" bIns="47425" rtlCol="0" anchor="b">
            <a:spAutoFit/>
          </a:bodyPr>
          <a:lstStyle/>
          <a:p>
            <a:pPr algn="ctr"/>
            <a:r>
              <a:rPr lang="en-US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ule – Welcome to Agile Boot Camp (Day1)</a:t>
            </a:r>
          </a:p>
        </p:txBody>
      </p:sp>
    </p:spTree>
    <p:extLst>
      <p:ext uri="{BB962C8B-B14F-4D97-AF65-F5344CB8AC3E}">
        <p14:creationId xmlns:p14="http://schemas.microsoft.com/office/powerpoint/2010/main" val="10077403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510748" y="3966398"/>
            <a:ext cx="5613621" cy="5320008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 sz="1100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844675" y="765175"/>
            <a:ext cx="4735513" cy="2663825"/>
          </a:xfrm>
        </p:spPr>
      </p:sp>
      <p:sp>
        <p:nvSpPr>
          <p:cNvPr id="4" name="TextBox 3"/>
          <p:cNvSpPr txBox="1"/>
          <p:nvPr/>
        </p:nvSpPr>
        <p:spPr>
          <a:xfrm>
            <a:off x="188695" y="2078842"/>
            <a:ext cx="1147455" cy="434330"/>
          </a:xfrm>
          <a:prstGeom prst="rect">
            <a:avLst/>
          </a:prstGeom>
          <a:solidFill>
            <a:srgbClr val="92D050"/>
          </a:solidFill>
        </p:spPr>
        <p:txBody>
          <a:bodyPr wrap="square" lIns="94851" tIns="47425" rIns="94851" bIns="47425" rtlCol="0" anchor="b">
            <a:spAutoFit/>
          </a:bodyPr>
          <a:lstStyle/>
          <a:p>
            <a:pPr lvl="0" algn="ctr">
              <a:defRPr/>
            </a:pPr>
            <a:r>
              <a:rPr lang="en-US" sz="11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ule 1 –</a:t>
            </a:r>
            <a:r>
              <a:rPr lang="en-US" sz="1100" b="1" spc="-93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hat is Agile?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88695" y="4656721"/>
            <a:ext cx="1147455" cy="667522"/>
            <a:chOff x="136363" y="6047620"/>
            <a:chExt cx="1099644" cy="646331"/>
          </a:xfrm>
        </p:grpSpPr>
        <p:sp>
          <p:nvSpPr>
            <p:cNvPr id="7" name="TextBox 6"/>
            <p:cNvSpPr txBox="1"/>
            <p:nvPr/>
          </p:nvSpPr>
          <p:spPr>
            <a:xfrm>
              <a:off x="136363" y="6047620"/>
              <a:ext cx="1099644" cy="646331"/>
            </a:xfrm>
            <a:prstGeom prst="rect">
              <a:avLst/>
            </a:prstGeom>
            <a:solidFill>
              <a:srgbClr val="92D050"/>
            </a:solidFill>
          </p:spPr>
          <p:txBody>
            <a:bodyPr wrap="square" rtlCol="0" anchor="ctr">
              <a:spAutoFit/>
            </a:bodyPr>
            <a:lstStyle/>
            <a:p>
              <a:pPr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 defTabSz="1264645">
                <a:defRPr/>
              </a:pPr>
              <a:r>
                <a:rPr lang="en-US" sz="9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iscuss</a:t>
              </a:r>
            </a:p>
          </p:txBody>
        </p:sp>
        <p:sp>
          <p:nvSpPr>
            <p:cNvPr id="8" name="Freeform 430"/>
            <p:cNvSpPr>
              <a:spLocks noChangeAspect="1" noEditPoints="1"/>
            </p:cNvSpPr>
            <p:nvPr/>
          </p:nvSpPr>
          <p:spPr bwMode="auto">
            <a:xfrm>
              <a:off x="493739" y="6116870"/>
              <a:ext cx="376296" cy="344890"/>
            </a:xfrm>
            <a:custGeom>
              <a:avLst/>
              <a:gdLst>
                <a:gd name="T0" fmla="*/ 235 w 512"/>
                <a:gd name="T1" fmla="*/ 139 h 512"/>
                <a:gd name="T2" fmla="*/ 256 w 512"/>
                <a:gd name="T3" fmla="*/ 118 h 512"/>
                <a:gd name="T4" fmla="*/ 277 w 512"/>
                <a:gd name="T5" fmla="*/ 139 h 512"/>
                <a:gd name="T6" fmla="*/ 256 w 512"/>
                <a:gd name="T7" fmla="*/ 160 h 512"/>
                <a:gd name="T8" fmla="*/ 235 w 512"/>
                <a:gd name="T9" fmla="*/ 139 h 512"/>
                <a:gd name="T10" fmla="*/ 267 w 512"/>
                <a:gd name="T11" fmla="*/ 363 h 512"/>
                <a:gd name="T12" fmla="*/ 267 w 512"/>
                <a:gd name="T13" fmla="*/ 224 h 512"/>
                <a:gd name="T14" fmla="*/ 213 w 512"/>
                <a:gd name="T15" fmla="*/ 224 h 512"/>
                <a:gd name="T16" fmla="*/ 213 w 512"/>
                <a:gd name="T17" fmla="*/ 246 h 512"/>
                <a:gd name="T18" fmla="*/ 235 w 512"/>
                <a:gd name="T19" fmla="*/ 246 h 512"/>
                <a:gd name="T20" fmla="*/ 245 w 512"/>
                <a:gd name="T21" fmla="*/ 256 h 512"/>
                <a:gd name="T22" fmla="*/ 245 w 512"/>
                <a:gd name="T23" fmla="*/ 363 h 512"/>
                <a:gd name="T24" fmla="*/ 235 w 512"/>
                <a:gd name="T25" fmla="*/ 374 h 512"/>
                <a:gd name="T26" fmla="*/ 203 w 512"/>
                <a:gd name="T27" fmla="*/ 374 h 512"/>
                <a:gd name="T28" fmla="*/ 203 w 512"/>
                <a:gd name="T29" fmla="*/ 395 h 512"/>
                <a:gd name="T30" fmla="*/ 309 w 512"/>
                <a:gd name="T31" fmla="*/ 395 h 512"/>
                <a:gd name="T32" fmla="*/ 309 w 512"/>
                <a:gd name="T33" fmla="*/ 374 h 512"/>
                <a:gd name="T34" fmla="*/ 277 w 512"/>
                <a:gd name="T35" fmla="*/ 374 h 512"/>
                <a:gd name="T36" fmla="*/ 267 w 512"/>
                <a:gd name="T37" fmla="*/ 363 h 512"/>
                <a:gd name="T38" fmla="*/ 512 w 512"/>
                <a:gd name="T39" fmla="*/ 256 h 512"/>
                <a:gd name="T40" fmla="*/ 256 w 512"/>
                <a:gd name="T41" fmla="*/ 512 h 512"/>
                <a:gd name="T42" fmla="*/ 0 w 512"/>
                <a:gd name="T43" fmla="*/ 256 h 512"/>
                <a:gd name="T44" fmla="*/ 256 w 512"/>
                <a:gd name="T45" fmla="*/ 0 h 512"/>
                <a:gd name="T46" fmla="*/ 512 w 512"/>
                <a:gd name="T47" fmla="*/ 256 h 512"/>
                <a:gd name="T48" fmla="*/ 213 w 512"/>
                <a:gd name="T49" fmla="*/ 139 h 512"/>
                <a:gd name="T50" fmla="*/ 256 w 512"/>
                <a:gd name="T51" fmla="*/ 182 h 512"/>
                <a:gd name="T52" fmla="*/ 299 w 512"/>
                <a:gd name="T53" fmla="*/ 139 h 512"/>
                <a:gd name="T54" fmla="*/ 256 w 512"/>
                <a:gd name="T55" fmla="*/ 96 h 512"/>
                <a:gd name="T56" fmla="*/ 213 w 512"/>
                <a:gd name="T57" fmla="*/ 139 h 512"/>
                <a:gd name="T58" fmla="*/ 331 w 512"/>
                <a:gd name="T59" fmla="*/ 363 h 512"/>
                <a:gd name="T60" fmla="*/ 320 w 512"/>
                <a:gd name="T61" fmla="*/ 352 h 512"/>
                <a:gd name="T62" fmla="*/ 288 w 512"/>
                <a:gd name="T63" fmla="*/ 352 h 512"/>
                <a:gd name="T64" fmla="*/ 288 w 512"/>
                <a:gd name="T65" fmla="*/ 214 h 512"/>
                <a:gd name="T66" fmla="*/ 277 w 512"/>
                <a:gd name="T67" fmla="*/ 203 h 512"/>
                <a:gd name="T68" fmla="*/ 203 w 512"/>
                <a:gd name="T69" fmla="*/ 203 h 512"/>
                <a:gd name="T70" fmla="*/ 192 w 512"/>
                <a:gd name="T71" fmla="*/ 214 h 512"/>
                <a:gd name="T72" fmla="*/ 192 w 512"/>
                <a:gd name="T73" fmla="*/ 256 h 512"/>
                <a:gd name="T74" fmla="*/ 203 w 512"/>
                <a:gd name="T75" fmla="*/ 267 h 512"/>
                <a:gd name="T76" fmla="*/ 224 w 512"/>
                <a:gd name="T77" fmla="*/ 267 h 512"/>
                <a:gd name="T78" fmla="*/ 224 w 512"/>
                <a:gd name="T79" fmla="*/ 352 h 512"/>
                <a:gd name="T80" fmla="*/ 192 w 512"/>
                <a:gd name="T81" fmla="*/ 352 h 512"/>
                <a:gd name="T82" fmla="*/ 181 w 512"/>
                <a:gd name="T83" fmla="*/ 363 h 512"/>
                <a:gd name="T84" fmla="*/ 181 w 512"/>
                <a:gd name="T85" fmla="*/ 406 h 512"/>
                <a:gd name="T86" fmla="*/ 192 w 512"/>
                <a:gd name="T87" fmla="*/ 416 h 512"/>
                <a:gd name="T88" fmla="*/ 320 w 512"/>
                <a:gd name="T89" fmla="*/ 416 h 512"/>
                <a:gd name="T90" fmla="*/ 331 w 512"/>
                <a:gd name="T91" fmla="*/ 406 h 512"/>
                <a:gd name="T92" fmla="*/ 331 w 512"/>
                <a:gd name="T93" fmla="*/ 36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12" h="512">
                  <a:moveTo>
                    <a:pt x="235" y="139"/>
                  </a:moveTo>
                  <a:cubicBezTo>
                    <a:pt x="235" y="127"/>
                    <a:pt x="244" y="118"/>
                    <a:pt x="256" y="118"/>
                  </a:cubicBezTo>
                  <a:cubicBezTo>
                    <a:pt x="268" y="118"/>
                    <a:pt x="277" y="127"/>
                    <a:pt x="277" y="139"/>
                  </a:cubicBezTo>
                  <a:cubicBezTo>
                    <a:pt x="277" y="151"/>
                    <a:pt x="268" y="160"/>
                    <a:pt x="256" y="160"/>
                  </a:cubicBezTo>
                  <a:cubicBezTo>
                    <a:pt x="244" y="160"/>
                    <a:pt x="235" y="151"/>
                    <a:pt x="235" y="139"/>
                  </a:cubicBezTo>
                  <a:close/>
                  <a:moveTo>
                    <a:pt x="267" y="363"/>
                  </a:moveTo>
                  <a:cubicBezTo>
                    <a:pt x="267" y="224"/>
                    <a:pt x="267" y="224"/>
                    <a:pt x="267" y="224"/>
                  </a:cubicBezTo>
                  <a:cubicBezTo>
                    <a:pt x="213" y="224"/>
                    <a:pt x="213" y="224"/>
                    <a:pt x="213" y="224"/>
                  </a:cubicBezTo>
                  <a:cubicBezTo>
                    <a:pt x="213" y="246"/>
                    <a:pt x="213" y="246"/>
                    <a:pt x="213" y="246"/>
                  </a:cubicBezTo>
                  <a:cubicBezTo>
                    <a:pt x="235" y="246"/>
                    <a:pt x="235" y="246"/>
                    <a:pt x="235" y="246"/>
                  </a:cubicBezTo>
                  <a:cubicBezTo>
                    <a:pt x="241" y="246"/>
                    <a:pt x="245" y="250"/>
                    <a:pt x="245" y="256"/>
                  </a:cubicBezTo>
                  <a:cubicBezTo>
                    <a:pt x="245" y="363"/>
                    <a:pt x="245" y="363"/>
                    <a:pt x="245" y="363"/>
                  </a:cubicBezTo>
                  <a:cubicBezTo>
                    <a:pt x="245" y="369"/>
                    <a:pt x="241" y="374"/>
                    <a:pt x="235" y="374"/>
                  </a:cubicBezTo>
                  <a:cubicBezTo>
                    <a:pt x="203" y="374"/>
                    <a:pt x="203" y="374"/>
                    <a:pt x="203" y="374"/>
                  </a:cubicBezTo>
                  <a:cubicBezTo>
                    <a:pt x="203" y="395"/>
                    <a:pt x="203" y="395"/>
                    <a:pt x="203" y="395"/>
                  </a:cubicBezTo>
                  <a:cubicBezTo>
                    <a:pt x="309" y="395"/>
                    <a:pt x="309" y="395"/>
                    <a:pt x="309" y="395"/>
                  </a:cubicBezTo>
                  <a:cubicBezTo>
                    <a:pt x="309" y="374"/>
                    <a:pt x="309" y="374"/>
                    <a:pt x="309" y="374"/>
                  </a:cubicBezTo>
                  <a:cubicBezTo>
                    <a:pt x="277" y="374"/>
                    <a:pt x="277" y="374"/>
                    <a:pt x="277" y="374"/>
                  </a:cubicBezTo>
                  <a:cubicBezTo>
                    <a:pt x="271" y="374"/>
                    <a:pt x="267" y="369"/>
                    <a:pt x="267" y="363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213" y="139"/>
                  </a:moveTo>
                  <a:cubicBezTo>
                    <a:pt x="213" y="163"/>
                    <a:pt x="232" y="182"/>
                    <a:pt x="256" y="182"/>
                  </a:cubicBezTo>
                  <a:cubicBezTo>
                    <a:pt x="280" y="182"/>
                    <a:pt x="299" y="163"/>
                    <a:pt x="299" y="139"/>
                  </a:cubicBezTo>
                  <a:cubicBezTo>
                    <a:pt x="299" y="115"/>
                    <a:pt x="280" y="96"/>
                    <a:pt x="256" y="96"/>
                  </a:cubicBezTo>
                  <a:cubicBezTo>
                    <a:pt x="232" y="96"/>
                    <a:pt x="213" y="115"/>
                    <a:pt x="213" y="139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288" y="352"/>
                    <a:pt x="288" y="352"/>
                    <a:pt x="288" y="352"/>
                  </a:cubicBezTo>
                  <a:cubicBezTo>
                    <a:pt x="288" y="214"/>
                    <a:pt x="288" y="214"/>
                    <a:pt x="288" y="214"/>
                  </a:cubicBezTo>
                  <a:cubicBezTo>
                    <a:pt x="288" y="208"/>
                    <a:pt x="283" y="203"/>
                    <a:pt x="277" y="203"/>
                  </a:cubicBezTo>
                  <a:cubicBezTo>
                    <a:pt x="203" y="203"/>
                    <a:pt x="203" y="203"/>
                    <a:pt x="203" y="203"/>
                  </a:cubicBezTo>
                  <a:cubicBezTo>
                    <a:pt x="197" y="203"/>
                    <a:pt x="192" y="208"/>
                    <a:pt x="192" y="214"/>
                  </a:cubicBezTo>
                  <a:cubicBezTo>
                    <a:pt x="192" y="256"/>
                    <a:pt x="192" y="256"/>
                    <a:pt x="192" y="256"/>
                  </a:cubicBezTo>
                  <a:cubicBezTo>
                    <a:pt x="192" y="262"/>
                    <a:pt x="197" y="267"/>
                    <a:pt x="203" y="267"/>
                  </a:cubicBezTo>
                  <a:cubicBezTo>
                    <a:pt x="224" y="267"/>
                    <a:pt x="224" y="267"/>
                    <a:pt x="224" y="267"/>
                  </a:cubicBezTo>
                  <a:cubicBezTo>
                    <a:pt x="224" y="352"/>
                    <a:pt x="224" y="352"/>
                    <a:pt x="224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406"/>
                    <a:pt x="181" y="406"/>
                    <a:pt x="181" y="406"/>
                  </a:cubicBezTo>
                  <a:cubicBezTo>
                    <a:pt x="181" y="412"/>
                    <a:pt x="186" y="416"/>
                    <a:pt x="192" y="416"/>
                  </a:cubicBezTo>
                  <a:cubicBezTo>
                    <a:pt x="320" y="416"/>
                    <a:pt x="320" y="416"/>
                    <a:pt x="320" y="416"/>
                  </a:cubicBezTo>
                  <a:cubicBezTo>
                    <a:pt x="326" y="416"/>
                    <a:pt x="331" y="412"/>
                    <a:pt x="331" y="406"/>
                  </a:cubicBezTo>
                  <a:lnTo>
                    <a:pt x="331" y="36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64645">
                <a:defRPr/>
              </a:pPr>
              <a:endParaRPr lang="en-US" sz="1200" dirty="0">
                <a:solidFill>
                  <a:prstClr val="black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82341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494845" y="3966398"/>
            <a:ext cx="5613621" cy="5272789"/>
          </a:xfrm>
          <a:prstGeom prst="rect">
            <a:avLst/>
          </a:prstGeom>
        </p:spPr>
        <p:txBody>
          <a:bodyPr/>
          <a:lstStyle/>
          <a:p>
            <a:pPr defTabSz="1002429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844675" y="765175"/>
            <a:ext cx="4735513" cy="2663825"/>
          </a:xfrm>
        </p:spPr>
      </p:sp>
      <p:sp>
        <p:nvSpPr>
          <p:cNvPr id="4" name="TextBox 3"/>
          <p:cNvSpPr txBox="1"/>
          <p:nvPr/>
        </p:nvSpPr>
        <p:spPr>
          <a:xfrm>
            <a:off x="188695" y="2078842"/>
            <a:ext cx="1147456" cy="434330"/>
          </a:xfrm>
          <a:prstGeom prst="rect">
            <a:avLst/>
          </a:prstGeom>
          <a:solidFill>
            <a:srgbClr val="92D050"/>
          </a:solidFill>
        </p:spPr>
        <p:txBody>
          <a:bodyPr wrap="square" lIns="94851" tIns="47425" rIns="94851" bIns="47425" rtlCol="0" anchor="b">
            <a:spAutoFit/>
          </a:bodyPr>
          <a:lstStyle/>
          <a:p>
            <a:pPr algn="ctr" defTabSz="1264645">
              <a:defRPr/>
            </a:pPr>
            <a:r>
              <a:rPr lang="en-US" sz="11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ule 1 –</a:t>
            </a:r>
            <a:r>
              <a:rPr lang="en-US" sz="1100" b="1" spc="-93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hat is Agile?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CBD41DC-386B-4BE3-8223-CFB5AABF6048}"/>
              </a:ext>
            </a:extLst>
          </p:cNvPr>
          <p:cNvGrpSpPr/>
          <p:nvPr/>
        </p:nvGrpSpPr>
        <p:grpSpPr>
          <a:xfrm>
            <a:off x="176535" y="2640654"/>
            <a:ext cx="1103942" cy="261610"/>
            <a:chOff x="176535" y="2640654"/>
            <a:chExt cx="1103942" cy="26161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6CA3565-0BE6-4275-91A2-2C3B28DD57E3}"/>
                </a:ext>
              </a:extLst>
            </p:cNvPr>
            <p:cNvSpPr txBox="1"/>
            <p:nvPr/>
          </p:nvSpPr>
          <p:spPr>
            <a:xfrm>
              <a:off x="176535" y="2640654"/>
              <a:ext cx="1103942" cy="261610"/>
            </a:xfrm>
            <a:prstGeom prst="rect">
              <a:avLst/>
            </a:prstGeom>
            <a:solidFill>
              <a:srgbClr val="92D050"/>
            </a:solidFill>
          </p:spPr>
          <p:txBody>
            <a:bodyPr wrap="square" rtlCol="0" anchor="b">
              <a:spAutoFit/>
            </a:bodyPr>
            <a:lstStyle/>
            <a:p>
              <a:pPr algn="r"/>
              <a:r>
                <a:rPr lang="en-US" sz="11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90 mins</a:t>
              </a:r>
            </a:p>
          </p:txBody>
        </p:sp>
        <p:sp>
          <p:nvSpPr>
            <p:cNvPr id="8" name="Freeform 988">
              <a:extLst>
                <a:ext uri="{FF2B5EF4-FFF2-40B4-BE49-F238E27FC236}">
                  <a16:creationId xmlns:a16="http://schemas.microsoft.com/office/drawing/2014/main" id="{3EFA6004-CF21-437E-814F-B75614FD822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83421" y="2640654"/>
              <a:ext cx="261610" cy="261610"/>
            </a:xfrm>
            <a:custGeom>
              <a:avLst/>
              <a:gdLst>
                <a:gd name="T0" fmla="*/ 256 w 512"/>
                <a:gd name="T1" fmla="*/ 117 h 512"/>
                <a:gd name="T2" fmla="*/ 117 w 512"/>
                <a:gd name="T3" fmla="*/ 256 h 512"/>
                <a:gd name="T4" fmla="*/ 256 w 512"/>
                <a:gd name="T5" fmla="*/ 394 h 512"/>
                <a:gd name="T6" fmla="*/ 394 w 512"/>
                <a:gd name="T7" fmla="*/ 256 h 512"/>
                <a:gd name="T8" fmla="*/ 256 w 512"/>
                <a:gd name="T9" fmla="*/ 117 h 512"/>
                <a:gd name="T10" fmla="*/ 245 w 512"/>
                <a:gd name="T11" fmla="*/ 149 h 512"/>
                <a:gd name="T12" fmla="*/ 256 w 512"/>
                <a:gd name="T13" fmla="*/ 138 h 512"/>
                <a:gd name="T14" fmla="*/ 266 w 512"/>
                <a:gd name="T15" fmla="*/ 149 h 512"/>
                <a:gd name="T16" fmla="*/ 266 w 512"/>
                <a:gd name="T17" fmla="*/ 160 h 512"/>
                <a:gd name="T18" fmla="*/ 256 w 512"/>
                <a:gd name="T19" fmla="*/ 170 h 512"/>
                <a:gd name="T20" fmla="*/ 245 w 512"/>
                <a:gd name="T21" fmla="*/ 160 h 512"/>
                <a:gd name="T22" fmla="*/ 245 w 512"/>
                <a:gd name="T23" fmla="*/ 149 h 512"/>
                <a:gd name="T24" fmla="*/ 160 w 512"/>
                <a:gd name="T25" fmla="*/ 266 h 512"/>
                <a:gd name="T26" fmla="*/ 149 w 512"/>
                <a:gd name="T27" fmla="*/ 266 h 512"/>
                <a:gd name="T28" fmla="*/ 138 w 512"/>
                <a:gd name="T29" fmla="*/ 256 h 512"/>
                <a:gd name="T30" fmla="*/ 149 w 512"/>
                <a:gd name="T31" fmla="*/ 245 h 512"/>
                <a:gd name="T32" fmla="*/ 160 w 512"/>
                <a:gd name="T33" fmla="*/ 245 h 512"/>
                <a:gd name="T34" fmla="*/ 170 w 512"/>
                <a:gd name="T35" fmla="*/ 256 h 512"/>
                <a:gd name="T36" fmla="*/ 160 w 512"/>
                <a:gd name="T37" fmla="*/ 266 h 512"/>
                <a:gd name="T38" fmla="*/ 266 w 512"/>
                <a:gd name="T39" fmla="*/ 362 h 512"/>
                <a:gd name="T40" fmla="*/ 256 w 512"/>
                <a:gd name="T41" fmla="*/ 373 h 512"/>
                <a:gd name="T42" fmla="*/ 245 w 512"/>
                <a:gd name="T43" fmla="*/ 362 h 512"/>
                <a:gd name="T44" fmla="*/ 245 w 512"/>
                <a:gd name="T45" fmla="*/ 352 h 512"/>
                <a:gd name="T46" fmla="*/ 256 w 512"/>
                <a:gd name="T47" fmla="*/ 341 h 512"/>
                <a:gd name="T48" fmla="*/ 266 w 512"/>
                <a:gd name="T49" fmla="*/ 352 h 512"/>
                <a:gd name="T50" fmla="*/ 266 w 512"/>
                <a:gd name="T51" fmla="*/ 362 h 512"/>
                <a:gd name="T52" fmla="*/ 306 w 512"/>
                <a:gd name="T53" fmla="*/ 231 h 512"/>
                <a:gd name="T54" fmla="*/ 263 w 512"/>
                <a:gd name="T55" fmla="*/ 274 h 512"/>
                <a:gd name="T56" fmla="*/ 256 w 512"/>
                <a:gd name="T57" fmla="*/ 277 h 512"/>
                <a:gd name="T58" fmla="*/ 248 w 512"/>
                <a:gd name="T59" fmla="*/ 274 h 512"/>
                <a:gd name="T60" fmla="*/ 173 w 512"/>
                <a:gd name="T61" fmla="*/ 199 h 512"/>
                <a:gd name="T62" fmla="*/ 173 w 512"/>
                <a:gd name="T63" fmla="*/ 184 h 512"/>
                <a:gd name="T64" fmla="*/ 189 w 512"/>
                <a:gd name="T65" fmla="*/ 184 h 512"/>
                <a:gd name="T66" fmla="*/ 256 w 512"/>
                <a:gd name="T67" fmla="*/ 251 h 512"/>
                <a:gd name="T68" fmla="*/ 291 w 512"/>
                <a:gd name="T69" fmla="*/ 216 h 512"/>
                <a:gd name="T70" fmla="*/ 306 w 512"/>
                <a:gd name="T71" fmla="*/ 216 h 512"/>
                <a:gd name="T72" fmla="*/ 306 w 512"/>
                <a:gd name="T73" fmla="*/ 231 h 512"/>
                <a:gd name="T74" fmla="*/ 373 w 512"/>
                <a:gd name="T75" fmla="*/ 256 h 512"/>
                <a:gd name="T76" fmla="*/ 362 w 512"/>
                <a:gd name="T77" fmla="*/ 266 h 512"/>
                <a:gd name="T78" fmla="*/ 352 w 512"/>
                <a:gd name="T79" fmla="*/ 266 h 512"/>
                <a:gd name="T80" fmla="*/ 341 w 512"/>
                <a:gd name="T81" fmla="*/ 256 h 512"/>
                <a:gd name="T82" fmla="*/ 352 w 512"/>
                <a:gd name="T83" fmla="*/ 245 h 512"/>
                <a:gd name="T84" fmla="*/ 362 w 512"/>
                <a:gd name="T85" fmla="*/ 245 h 512"/>
                <a:gd name="T86" fmla="*/ 373 w 512"/>
                <a:gd name="T87" fmla="*/ 256 h 512"/>
                <a:gd name="T88" fmla="*/ 256 w 512"/>
                <a:gd name="T89" fmla="*/ 0 h 512"/>
                <a:gd name="T90" fmla="*/ 0 w 512"/>
                <a:gd name="T91" fmla="*/ 256 h 512"/>
                <a:gd name="T92" fmla="*/ 256 w 512"/>
                <a:gd name="T93" fmla="*/ 512 h 512"/>
                <a:gd name="T94" fmla="*/ 512 w 512"/>
                <a:gd name="T95" fmla="*/ 256 h 512"/>
                <a:gd name="T96" fmla="*/ 256 w 512"/>
                <a:gd name="T97" fmla="*/ 0 h 512"/>
                <a:gd name="T98" fmla="*/ 256 w 512"/>
                <a:gd name="T99" fmla="*/ 416 h 512"/>
                <a:gd name="T100" fmla="*/ 96 w 512"/>
                <a:gd name="T101" fmla="*/ 256 h 512"/>
                <a:gd name="T102" fmla="*/ 256 w 512"/>
                <a:gd name="T103" fmla="*/ 96 h 512"/>
                <a:gd name="T104" fmla="*/ 416 w 512"/>
                <a:gd name="T105" fmla="*/ 256 h 512"/>
                <a:gd name="T106" fmla="*/ 256 w 512"/>
                <a:gd name="T107" fmla="*/ 416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12" h="512">
                  <a:moveTo>
                    <a:pt x="256" y="117"/>
                  </a:moveTo>
                  <a:cubicBezTo>
                    <a:pt x="179" y="117"/>
                    <a:pt x="117" y="179"/>
                    <a:pt x="117" y="256"/>
                  </a:cubicBezTo>
                  <a:cubicBezTo>
                    <a:pt x="117" y="332"/>
                    <a:pt x="179" y="394"/>
                    <a:pt x="256" y="394"/>
                  </a:cubicBezTo>
                  <a:cubicBezTo>
                    <a:pt x="332" y="394"/>
                    <a:pt x="394" y="332"/>
                    <a:pt x="394" y="256"/>
                  </a:cubicBezTo>
                  <a:cubicBezTo>
                    <a:pt x="394" y="179"/>
                    <a:pt x="332" y="117"/>
                    <a:pt x="256" y="117"/>
                  </a:cubicBezTo>
                  <a:close/>
                  <a:moveTo>
                    <a:pt x="245" y="149"/>
                  </a:moveTo>
                  <a:cubicBezTo>
                    <a:pt x="245" y="143"/>
                    <a:pt x="250" y="138"/>
                    <a:pt x="256" y="138"/>
                  </a:cubicBezTo>
                  <a:cubicBezTo>
                    <a:pt x="262" y="138"/>
                    <a:pt x="266" y="143"/>
                    <a:pt x="266" y="149"/>
                  </a:cubicBezTo>
                  <a:cubicBezTo>
                    <a:pt x="266" y="160"/>
                    <a:pt x="266" y="160"/>
                    <a:pt x="266" y="160"/>
                  </a:cubicBezTo>
                  <a:cubicBezTo>
                    <a:pt x="266" y="166"/>
                    <a:pt x="262" y="170"/>
                    <a:pt x="256" y="170"/>
                  </a:cubicBezTo>
                  <a:cubicBezTo>
                    <a:pt x="250" y="170"/>
                    <a:pt x="245" y="166"/>
                    <a:pt x="245" y="160"/>
                  </a:cubicBezTo>
                  <a:lnTo>
                    <a:pt x="245" y="149"/>
                  </a:lnTo>
                  <a:close/>
                  <a:moveTo>
                    <a:pt x="160" y="266"/>
                  </a:moveTo>
                  <a:cubicBezTo>
                    <a:pt x="149" y="266"/>
                    <a:pt x="149" y="266"/>
                    <a:pt x="149" y="266"/>
                  </a:cubicBezTo>
                  <a:cubicBezTo>
                    <a:pt x="143" y="266"/>
                    <a:pt x="138" y="262"/>
                    <a:pt x="138" y="256"/>
                  </a:cubicBezTo>
                  <a:cubicBezTo>
                    <a:pt x="138" y="250"/>
                    <a:pt x="143" y="245"/>
                    <a:pt x="149" y="245"/>
                  </a:cubicBezTo>
                  <a:cubicBezTo>
                    <a:pt x="160" y="245"/>
                    <a:pt x="160" y="245"/>
                    <a:pt x="160" y="245"/>
                  </a:cubicBezTo>
                  <a:cubicBezTo>
                    <a:pt x="166" y="245"/>
                    <a:pt x="170" y="250"/>
                    <a:pt x="170" y="256"/>
                  </a:cubicBezTo>
                  <a:cubicBezTo>
                    <a:pt x="170" y="262"/>
                    <a:pt x="166" y="266"/>
                    <a:pt x="160" y="266"/>
                  </a:cubicBezTo>
                  <a:close/>
                  <a:moveTo>
                    <a:pt x="266" y="362"/>
                  </a:moveTo>
                  <a:cubicBezTo>
                    <a:pt x="266" y="368"/>
                    <a:pt x="262" y="373"/>
                    <a:pt x="256" y="373"/>
                  </a:cubicBezTo>
                  <a:cubicBezTo>
                    <a:pt x="250" y="373"/>
                    <a:pt x="245" y="368"/>
                    <a:pt x="245" y="362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245" y="346"/>
                    <a:pt x="250" y="341"/>
                    <a:pt x="256" y="341"/>
                  </a:cubicBezTo>
                  <a:cubicBezTo>
                    <a:pt x="262" y="341"/>
                    <a:pt x="266" y="346"/>
                    <a:pt x="266" y="352"/>
                  </a:cubicBezTo>
                  <a:lnTo>
                    <a:pt x="266" y="362"/>
                  </a:lnTo>
                  <a:close/>
                  <a:moveTo>
                    <a:pt x="306" y="231"/>
                  </a:moveTo>
                  <a:cubicBezTo>
                    <a:pt x="263" y="274"/>
                    <a:pt x="263" y="274"/>
                    <a:pt x="263" y="274"/>
                  </a:cubicBezTo>
                  <a:cubicBezTo>
                    <a:pt x="261" y="276"/>
                    <a:pt x="258" y="277"/>
                    <a:pt x="256" y="277"/>
                  </a:cubicBezTo>
                  <a:cubicBezTo>
                    <a:pt x="253" y="277"/>
                    <a:pt x="250" y="276"/>
                    <a:pt x="248" y="274"/>
                  </a:cubicBezTo>
                  <a:cubicBezTo>
                    <a:pt x="173" y="199"/>
                    <a:pt x="173" y="199"/>
                    <a:pt x="173" y="199"/>
                  </a:cubicBezTo>
                  <a:cubicBezTo>
                    <a:pt x="169" y="195"/>
                    <a:pt x="169" y="188"/>
                    <a:pt x="173" y="184"/>
                  </a:cubicBezTo>
                  <a:cubicBezTo>
                    <a:pt x="178" y="180"/>
                    <a:pt x="184" y="180"/>
                    <a:pt x="189" y="184"/>
                  </a:cubicBezTo>
                  <a:cubicBezTo>
                    <a:pt x="256" y="251"/>
                    <a:pt x="256" y="251"/>
                    <a:pt x="256" y="251"/>
                  </a:cubicBezTo>
                  <a:cubicBezTo>
                    <a:pt x="291" y="216"/>
                    <a:pt x="291" y="216"/>
                    <a:pt x="291" y="216"/>
                  </a:cubicBezTo>
                  <a:cubicBezTo>
                    <a:pt x="295" y="212"/>
                    <a:pt x="302" y="212"/>
                    <a:pt x="306" y="216"/>
                  </a:cubicBezTo>
                  <a:cubicBezTo>
                    <a:pt x="310" y="220"/>
                    <a:pt x="310" y="227"/>
                    <a:pt x="306" y="231"/>
                  </a:cubicBezTo>
                  <a:close/>
                  <a:moveTo>
                    <a:pt x="373" y="256"/>
                  </a:moveTo>
                  <a:cubicBezTo>
                    <a:pt x="373" y="262"/>
                    <a:pt x="368" y="266"/>
                    <a:pt x="362" y="266"/>
                  </a:cubicBezTo>
                  <a:cubicBezTo>
                    <a:pt x="352" y="266"/>
                    <a:pt x="352" y="266"/>
                    <a:pt x="352" y="266"/>
                  </a:cubicBezTo>
                  <a:cubicBezTo>
                    <a:pt x="346" y="266"/>
                    <a:pt x="341" y="262"/>
                    <a:pt x="341" y="256"/>
                  </a:cubicBezTo>
                  <a:cubicBezTo>
                    <a:pt x="341" y="250"/>
                    <a:pt x="346" y="245"/>
                    <a:pt x="352" y="245"/>
                  </a:cubicBezTo>
                  <a:cubicBezTo>
                    <a:pt x="362" y="245"/>
                    <a:pt x="362" y="245"/>
                    <a:pt x="362" y="245"/>
                  </a:cubicBezTo>
                  <a:cubicBezTo>
                    <a:pt x="368" y="245"/>
                    <a:pt x="373" y="250"/>
                    <a:pt x="373" y="256"/>
                  </a:cubicBezTo>
                  <a:close/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16"/>
                  </a:moveTo>
                  <a:cubicBezTo>
                    <a:pt x="167" y="416"/>
                    <a:pt x="96" y="344"/>
                    <a:pt x="96" y="256"/>
                  </a:cubicBezTo>
                  <a:cubicBezTo>
                    <a:pt x="96" y="167"/>
                    <a:pt x="167" y="96"/>
                    <a:pt x="256" y="96"/>
                  </a:cubicBezTo>
                  <a:cubicBezTo>
                    <a:pt x="344" y="96"/>
                    <a:pt x="416" y="167"/>
                    <a:pt x="416" y="256"/>
                  </a:cubicBezTo>
                  <a:cubicBezTo>
                    <a:pt x="416" y="344"/>
                    <a:pt x="344" y="416"/>
                    <a:pt x="256" y="41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2918940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g5c6d0d8677_0_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1" name="Google Shape;191;g5c6d0d8677_0_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wo main types of supervised learning proble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B0651B-7B29-B646-AD79-DD7B1FBF8E84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237520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wo main types of supervised learning proble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B0651B-7B29-B646-AD79-DD7B1FBF8E84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26885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g5c6d0d8677_0_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1" name="Google Shape;191;g5c6d0d8677_0_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674784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g5c6d0d8677_0_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1" name="Google Shape;191;g5c6d0d8677_0_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2992491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g5c6d0d8677_0_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1" name="Google Shape;191;g5c6d0d8677_0_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015589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g5c6d0d8677_0_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1" name="Google Shape;191;g5c6d0d8677_0_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8775985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494845" y="3966398"/>
            <a:ext cx="5613621" cy="5272789"/>
          </a:xfrm>
          <a:prstGeom prst="rect">
            <a:avLst/>
          </a:prstGeom>
        </p:spPr>
        <p:txBody>
          <a:bodyPr/>
          <a:lstStyle/>
          <a:p>
            <a:pPr defTabSz="1002429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844675" y="765175"/>
            <a:ext cx="4735513" cy="2663825"/>
          </a:xfrm>
        </p:spPr>
      </p:sp>
      <p:sp>
        <p:nvSpPr>
          <p:cNvPr id="4" name="TextBox 3"/>
          <p:cNvSpPr txBox="1"/>
          <p:nvPr/>
        </p:nvSpPr>
        <p:spPr>
          <a:xfrm>
            <a:off x="188695" y="2078842"/>
            <a:ext cx="1147456" cy="434330"/>
          </a:xfrm>
          <a:prstGeom prst="rect">
            <a:avLst/>
          </a:prstGeom>
          <a:solidFill>
            <a:srgbClr val="92D050"/>
          </a:solidFill>
        </p:spPr>
        <p:txBody>
          <a:bodyPr wrap="square" lIns="94851" tIns="47425" rIns="94851" bIns="47425" rtlCol="0" anchor="b">
            <a:spAutoFit/>
          </a:bodyPr>
          <a:lstStyle/>
          <a:p>
            <a:pPr algn="ctr" defTabSz="1264645">
              <a:defRPr/>
            </a:pPr>
            <a:r>
              <a:rPr lang="en-US" sz="11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ule 1 –</a:t>
            </a:r>
            <a:r>
              <a:rPr lang="en-US" sz="1100" b="1" spc="-93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hat is Agile?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CBD41DC-386B-4BE3-8223-CFB5AABF6048}"/>
              </a:ext>
            </a:extLst>
          </p:cNvPr>
          <p:cNvGrpSpPr/>
          <p:nvPr/>
        </p:nvGrpSpPr>
        <p:grpSpPr>
          <a:xfrm>
            <a:off x="176535" y="2640654"/>
            <a:ext cx="1103942" cy="261610"/>
            <a:chOff x="176535" y="2640654"/>
            <a:chExt cx="1103942" cy="26161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6CA3565-0BE6-4275-91A2-2C3B28DD57E3}"/>
                </a:ext>
              </a:extLst>
            </p:cNvPr>
            <p:cNvSpPr txBox="1"/>
            <p:nvPr/>
          </p:nvSpPr>
          <p:spPr>
            <a:xfrm>
              <a:off x="176535" y="2640654"/>
              <a:ext cx="1103942" cy="261610"/>
            </a:xfrm>
            <a:prstGeom prst="rect">
              <a:avLst/>
            </a:prstGeom>
            <a:solidFill>
              <a:srgbClr val="92D050"/>
            </a:solidFill>
          </p:spPr>
          <p:txBody>
            <a:bodyPr wrap="square" rtlCol="0" anchor="b">
              <a:spAutoFit/>
            </a:bodyPr>
            <a:lstStyle/>
            <a:p>
              <a:pPr algn="r"/>
              <a:r>
                <a:rPr lang="en-US" sz="11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90 mins</a:t>
              </a:r>
            </a:p>
          </p:txBody>
        </p:sp>
        <p:sp>
          <p:nvSpPr>
            <p:cNvPr id="8" name="Freeform 988">
              <a:extLst>
                <a:ext uri="{FF2B5EF4-FFF2-40B4-BE49-F238E27FC236}">
                  <a16:creationId xmlns:a16="http://schemas.microsoft.com/office/drawing/2014/main" id="{3EFA6004-CF21-437E-814F-B75614FD822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83421" y="2640654"/>
              <a:ext cx="261610" cy="261610"/>
            </a:xfrm>
            <a:custGeom>
              <a:avLst/>
              <a:gdLst>
                <a:gd name="T0" fmla="*/ 256 w 512"/>
                <a:gd name="T1" fmla="*/ 117 h 512"/>
                <a:gd name="T2" fmla="*/ 117 w 512"/>
                <a:gd name="T3" fmla="*/ 256 h 512"/>
                <a:gd name="T4" fmla="*/ 256 w 512"/>
                <a:gd name="T5" fmla="*/ 394 h 512"/>
                <a:gd name="T6" fmla="*/ 394 w 512"/>
                <a:gd name="T7" fmla="*/ 256 h 512"/>
                <a:gd name="T8" fmla="*/ 256 w 512"/>
                <a:gd name="T9" fmla="*/ 117 h 512"/>
                <a:gd name="T10" fmla="*/ 245 w 512"/>
                <a:gd name="T11" fmla="*/ 149 h 512"/>
                <a:gd name="T12" fmla="*/ 256 w 512"/>
                <a:gd name="T13" fmla="*/ 138 h 512"/>
                <a:gd name="T14" fmla="*/ 266 w 512"/>
                <a:gd name="T15" fmla="*/ 149 h 512"/>
                <a:gd name="T16" fmla="*/ 266 w 512"/>
                <a:gd name="T17" fmla="*/ 160 h 512"/>
                <a:gd name="T18" fmla="*/ 256 w 512"/>
                <a:gd name="T19" fmla="*/ 170 h 512"/>
                <a:gd name="T20" fmla="*/ 245 w 512"/>
                <a:gd name="T21" fmla="*/ 160 h 512"/>
                <a:gd name="T22" fmla="*/ 245 w 512"/>
                <a:gd name="T23" fmla="*/ 149 h 512"/>
                <a:gd name="T24" fmla="*/ 160 w 512"/>
                <a:gd name="T25" fmla="*/ 266 h 512"/>
                <a:gd name="T26" fmla="*/ 149 w 512"/>
                <a:gd name="T27" fmla="*/ 266 h 512"/>
                <a:gd name="T28" fmla="*/ 138 w 512"/>
                <a:gd name="T29" fmla="*/ 256 h 512"/>
                <a:gd name="T30" fmla="*/ 149 w 512"/>
                <a:gd name="T31" fmla="*/ 245 h 512"/>
                <a:gd name="T32" fmla="*/ 160 w 512"/>
                <a:gd name="T33" fmla="*/ 245 h 512"/>
                <a:gd name="T34" fmla="*/ 170 w 512"/>
                <a:gd name="T35" fmla="*/ 256 h 512"/>
                <a:gd name="T36" fmla="*/ 160 w 512"/>
                <a:gd name="T37" fmla="*/ 266 h 512"/>
                <a:gd name="T38" fmla="*/ 266 w 512"/>
                <a:gd name="T39" fmla="*/ 362 h 512"/>
                <a:gd name="T40" fmla="*/ 256 w 512"/>
                <a:gd name="T41" fmla="*/ 373 h 512"/>
                <a:gd name="T42" fmla="*/ 245 w 512"/>
                <a:gd name="T43" fmla="*/ 362 h 512"/>
                <a:gd name="T44" fmla="*/ 245 w 512"/>
                <a:gd name="T45" fmla="*/ 352 h 512"/>
                <a:gd name="T46" fmla="*/ 256 w 512"/>
                <a:gd name="T47" fmla="*/ 341 h 512"/>
                <a:gd name="T48" fmla="*/ 266 w 512"/>
                <a:gd name="T49" fmla="*/ 352 h 512"/>
                <a:gd name="T50" fmla="*/ 266 w 512"/>
                <a:gd name="T51" fmla="*/ 362 h 512"/>
                <a:gd name="T52" fmla="*/ 306 w 512"/>
                <a:gd name="T53" fmla="*/ 231 h 512"/>
                <a:gd name="T54" fmla="*/ 263 w 512"/>
                <a:gd name="T55" fmla="*/ 274 h 512"/>
                <a:gd name="T56" fmla="*/ 256 w 512"/>
                <a:gd name="T57" fmla="*/ 277 h 512"/>
                <a:gd name="T58" fmla="*/ 248 w 512"/>
                <a:gd name="T59" fmla="*/ 274 h 512"/>
                <a:gd name="T60" fmla="*/ 173 w 512"/>
                <a:gd name="T61" fmla="*/ 199 h 512"/>
                <a:gd name="T62" fmla="*/ 173 w 512"/>
                <a:gd name="T63" fmla="*/ 184 h 512"/>
                <a:gd name="T64" fmla="*/ 189 w 512"/>
                <a:gd name="T65" fmla="*/ 184 h 512"/>
                <a:gd name="T66" fmla="*/ 256 w 512"/>
                <a:gd name="T67" fmla="*/ 251 h 512"/>
                <a:gd name="T68" fmla="*/ 291 w 512"/>
                <a:gd name="T69" fmla="*/ 216 h 512"/>
                <a:gd name="T70" fmla="*/ 306 w 512"/>
                <a:gd name="T71" fmla="*/ 216 h 512"/>
                <a:gd name="T72" fmla="*/ 306 w 512"/>
                <a:gd name="T73" fmla="*/ 231 h 512"/>
                <a:gd name="T74" fmla="*/ 373 w 512"/>
                <a:gd name="T75" fmla="*/ 256 h 512"/>
                <a:gd name="T76" fmla="*/ 362 w 512"/>
                <a:gd name="T77" fmla="*/ 266 h 512"/>
                <a:gd name="T78" fmla="*/ 352 w 512"/>
                <a:gd name="T79" fmla="*/ 266 h 512"/>
                <a:gd name="T80" fmla="*/ 341 w 512"/>
                <a:gd name="T81" fmla="*/ 256 h 512"/>
                <a:gd name="T82" fmla="*/ 352 w 512"/>
                <a:gd name="T83" fmla="*/ 245 h 512"/>
                <a:gd name="T84" fmla="*/ 362 w 512"/>
                <a:gd name="T85" fmla="*/ 245 h 512"/>
                <a:gd name="T86" fmla="*/ 373 w 512"/>
                <a:gd name="T87" fmla="*/ 256 h 512"/>
                <a:gd name="T88" fmla="*/ 256 w 512"/>
                <a:gd name="T89" fmla="*/ 0 h 512"/>
                <a:gd name="T90" fmla="*/ 0 w 512"/>
                <a:gd name="T91" fmla="*/ 256 h 512"/>
                <a:gd name="T92" fmla="*/ 256 w 512"/>
                <a:gd name="T93" fmla="*/ 512 h 512"/>
                <a:gd name="T94" fmla="*/ 512 w 512"/>
                <a:gd name="T95" fmla="*/ 256 h 512"/>
                <a:gd name="T96" fmla="*/ 256 w 512"/>
                <a:gd name="T97" fmla="*/ 0 h 512"/>
                <a:gd name="T98" fmla="*/ 256 w 512"/>
                <a:gd name="T99" fmla="*/ 416 h 512"/>
                <a:gd name="T100" fmla="*/ 96 w 512"/>
                <a:gd name="T101" fmla="*/ 256 h 512"/>
                <a:gd name="T102" fmla="*/ 256 w 512"/>
                <a:gd name="T103" fmla="*/ 96 h 512"/>
                <a:gd name="T104" fmla="*/ 416 w 512"/>
                <a:gd name="T105" fmla="*/ 256 h 512"/>
                <a:gd name="T106" fmla="*/ 256 w 512"/>
                <a:gd name="T107" fmla="*/ 416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12" h="512">
                  <a:moveTo>
                    <a:pt x="256" y="117"/>
                  </a:moveTo>
                  <a:cubicBezTo>
                    <a:pt x="179" y="117"/>
                    <a:pt x="117" y="179"/>
                    <a:pt x="117" y="256"/>
                  </a:cubicBezTo>
                  <a:cubicBezTo>
                    <a:pt x="117" y="332"/>
                    <a:pt x="179" y="394"/>
                    <a:pt x="256" y="394"/>
                  </a:cubicBezTo>
                  <a:cubicBezTo>
                    <a:pt x="332" y="394"/>
                    <a:pt x="394" y="332"/>
                    <a:pt x="394" y="256"/>
                  </a:cubicBezTo>
                  <a:cubicBezTo>
                    <a:pt x="394" y="179"/>
                    <a:pt x="332" y="117"/>
                    <a:pt x="256" y="117"/>
                  </a:cubicBezTo>
                  <a:close/>
                  <a:moveTo>
                    <a:pt x="245" y="149"/>
                  </a:moveTo>
                  <a:cubicBezTo>
                    <a:pt x="245" y="143"/>
                    <a:pt x="250" y="138"/>
                    <a:pt x="256" y="138"/>
                  </a:cubicBezTo>
                  <a:cubicBezTo>
                    <a:pt x="262" y="138"/>
                    <a:pt x="266" y="143"/>
                    <a:pt x="266" y="149"/>
                  </a:cubicBezTo>
                  <a:cubicBezTo>
                    <a:pt x="266" y="160"/>
                    <a:pt x="266" y="160"/>
                    <a:pt x="266" y="160"/>
                  </a:cubicBezTo>
                  <a:cubicBezTo>
                    <a:pt x="266" y="166"/>
                    <a:pt x="262" y="170"/>
                    <a:pt x="256" y="170"/>
                  </a:cubicBezTo>
                  <a:cubicBezTo>
                    <a:pt x="250" y="170"/>
                    <a:pt x="245" y="166"/>
                    <a:pt x="245" y="160"/>
                  </a:cubicBezTo>
                  <a:lnTo>
                    <a:pt x="245" y="149"/>
                  </a:lnTo>
                  <a:close/>
                  <a:moveTo>
                    <a:pt x="160" y="266"/>
                  </a:moveTo>
                  <a:cubicBezTo>
                    <a:pt x="149" y="266"/>
                    <a:pt x="149" y="266"/>
                    <a:pt x="149" y="266"/>
                  </a:cubicBezTo>
                  <a:cubicBezTo>
                    <a:pt x="143" y="266"/>
                    <a:pt x="138" y="262"/>
                    <a:pt x="138" y="256"/>
                  </a:cubicBezTo>
                  <a:cubicBezTo>
                    <a:pt x="138" y="250"/>
                    <a:pt x="143" y="245"/>
                    <a:pt x="149" y="245"/>
                  </a:cubicBezTo>
                  <a:cubicBezTo>
                    <a:pt x="160" y="245"/>
                    <a:pt x="160" y="245"/>
                    <a:pt x="160" y="245"/>
                  </a:cubicBezTo>
                  <a:cubicBezTo>
                    <a:pt x="166" y="245"/>
                    <a:pt x="170" y="250"/>
                    <a:pt x="170" y="256"/>
                  </a:cubicBezTo>
                  <a:cubicBezTo>
                    <a:pt x="170" y="262"/>
                    <a:pt x="166" y="266"/>
                    <a:pt x="160" y="266"/>
                  </a:cubicBezTo>
                  <a:close/>
                  <a:moveTo>
                    <a:pt x="266" y="362"/>
                  </a:moveTo>
                  <a:cubicBezTo>
                    <a:pt x="266" y="368"/>
                    <a:pt x="262" y="373"/>
                    <a:pt x="256" y="373"/>
                  </a:cubicBezTo>
                  <a:cubicBezTo>
                    <a:pt x="250" y="373"/>
                    <a:pt x="245" y="368"/>
                    <a:pt x="245" y="362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245" y="346"/>
                    <a:pt x="250" y="341"/>
                    <a:pt x="256" y="341"/>
                  </a:cubicBezTo>
                  <a:cubicBezTo>
                    <a:pt x="262" y="341"/>
                    <a:pt x="266" y="346"/>
                    <a:pt x="266" y="352"/>
                  </a:cubicBezTo>
                  <a:lnTo>
                    <a:pt x="266" y="362"/>
                  </a:lnTo>
                  <a:close/>
                  <a:moveTo>
                    <a:pt x="306" y="231"/>
                  </a:moveTo>
                  <a:cubicBezTo>
                    <a:pt x="263" y="274"/>
                    <a:pt x="263" y="274"/>
                    <a:pt x="263" y="274"/>
                  </a:cubicBezTo>
                  <a:cubicBezTo>
                    <a:pt x="261" y="276"/>
                    <a:pt x="258" y="277"/>
                    <a:pt x="256" y="277"/>
                  </a:cubicBezTo>
                  <a:cubicBezTo>
                    <a:pt x="253" y="277"/>
                    <a:pt x="250" y="276"/>
                    <a:pt x="248" y="274"/>
                  </a:cubicBezTo>
                  <a:cubicBezTo>
                    <a:pt x="173" y="199"/>
                    <a:pt x="173" y="199"/>
                    <a:pt x="173" y="199"/>
                  </a:cubicBezTo>
                  <a:cubicBezTo>
                    <a:pt x="169" y="195"/>
                    <a:pt x="169" y="188"/>
                    <a:pt x="173" y="184"/>
                  </a:cubicBezTo>
                  <a:cubicBezTo>
                    <a:pt x="178" y="180"/>
                    <a:pt x="184" y="180"/>
                    <a:pt x="189" y="184"/>
                  </a:cubicBezTo>
                  <a:cubicBezTo>
                    <a:pt x="256" y="251"/>
                    <a:pt x="256" y="251"/>
                    <a:pt x="256" y="251"/>
                  </a:cubicBezTo>
                  <a:cubicBezTo>
                    <a:pt x="291" y="216"/>
                    <a:pt x="291" y="216"/>
                    <a:pt x="291" y="216"/>
                  </a:cubicBezTo>
                  <a:cubicBezTo>
                    <a:pt x="295" y="212"/>
                    <a:pt x="302" y="212"/>
                    <a:pt x="306" y="216"/>
                  </a:cubicBezTo>
                  <a:cubicBezTo>
                    <a:pt x="310" y="220"/>
                    <a:pt x="310" y="227"/>
                    <a:pt x="306" y="231"/>
                  </a:cubicBezTo>
                  <a:close/>
                  <a:moveTo>
                    <a:pt x="373" y="256"/>
                  </a:moveTo>
                  <a:cubicBezTo>
                    <a:pt x="373" y="262"/>
                    <a:pt x="368" y="266"/>
                    <a:pt x="362" y="266"/>
                  </a:cubicBezTo>
                  <a:cubicBezTo>
                    <a:pt x="352" y="266"/>
                    <a:pt x="352" y="266"/>
                    <a:pt x="352" y="266"/>
                  </a:cubicBezTo>
                  <a:cubicBezTo>
                    <a:pt x="346" y="266"/>
                    <a:pt x="341" y="262"/>
                    <a:pt x="341" y="256"/>
                  </a:cubicBezTo>
                  <a:cubicBezTo>
                    <a:pt x="341" y="250"/>
                    <a:pt x="346" y="245"/>
                    <a:pt x="352" y="245"/>
                  </a:cubicBezTo>
                  <a:cubicBezTo>
                    <a:pt x="362" y="245"/>
                    <a:pt x="362" y="245"/>
                    <a:pt x="362" y="245"/>
                  </a:cubicBezTo>
                  <a:cubicBezTo>
                    <a:pt x="368" y="245"/>
                    <a:pt x="373" y="250"/>
                    <a:pt x="373" y="256"/>
                  </a:cubicBezTo>
                  <a:close/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16"/>
                  </a:moveTo>
                  <a:cubicBezTo>
                    <a:pt x="167" y="416"/>
                    <a:pt x="96" y="344"/>
                    <a:pt x="96" y="256"/>
                  </a:cubicBezTo>
                  <a:cubicBezTo>
                    <a:pt x="96" y="167"/>
                    <a:pt x="167" y="96"/>
                    <a:pt x="256" y="96"/>
                  </a:cubicBezTo>
                  <a:cubicBezTo>
                    <a:pt x="344" y="96"/>
                    <a:pt x="416" y="167"/>
                    <a:pt x="416" y="256"/>
                  </a:cubicBezTo>
                  <a:cubicBezTo>
                    <a:pt x="416" y="344"/>
                    <a:pt x="344" y="416"/>
                    <a:pt x="256" y="41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694283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494845" y="3966398"/>
            <a:ext cx="5613621" cy="5272789"/>
          </a:xfrm>
          <a:prstGeom prst="rect">
            <a:avLst/>
          </a:prstGeom>
        </p:spPr>
        <p:txBody>
          <a:bodyPr/>
          <a:lstStyle/>
          <a:p>
            <a:pPr defTabSz="1002429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844675" y="765175"/>
            <a:ext cx="4735513" cy="2663825"/>
          </a:xfrm>
        </p:spPr>
      </p:sp>
      <p:sp>
        <p:nvSpPr>
          <p:cNvPr id="4" name="TextBox 3"/>
          <p:cNvSpPr txBox="1"/>
          <p:nvPr/>
        </p:nvSpPr>
        <p:spPr>
          <a:xfrm>
            <a:off x="188695" y="2078842"/>
            <a:ext cx="1147456" cy="434330"/>
          </a:xfrm>
          <a:prstGeom prst="rect">
            <a:avLst/>
          </a:prstGeom>
          <a:solidFill>
            <a:srgbClr val="92D050"/>
          </a:solidFill>
        </p:spPr>
        <p:txBody>
          <a:bodyPr wrap="square" lIns="94851" tIns="47425" rIns="94851" bIns="47425" rtlCol="0" anchor="b">
            <a:spAutoFit/>
          </a:bodyPr>
          <a:lstStyle/>
          <a:p>
            <a:pPr algn="ctr" defTabSz="1264645">
              <a:defRPr/>
            </a:pPr>
            <a:r>
              <a:rPr lang="en-US" sz="11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ule 1 –</a:t>
            </a:r>
            <a:r>
              <a:rPr lang="en-US" sz="1100" b="1" spc="-93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hat is Agile?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CBD41DC-386B-4BE3-8223-CFB5AABF6048}"/>
              </a:ext>
            </a:extLst>
          </p:cNvPr>
          <p:cNvGrpSpPr/>
          <p:nvPr/>
        </p:nvGrpSpPr>
        <p:grpSpPr>
          <a:xfrm>
            <a:off x="176535" y="2640654"/>
            <a:ext cx="1103942" cy="261610"/>
            <a:chOff x="176535" y="2640654"/>
            <a:chExt cx="1103942" cy="26161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6CA3565-0BE6-4275-91A2-2C3B28DD57E3}"/>
                </a:ext>
              </a:extLst>
            </p:cNvPr>
            <p:cNvSpPr txBox="1"/>
            <p:nvPr/>
          </p:nvSpPr>
          <p:spPr>
            <a:xfrm>
              <a:off x="176535" y="2640654"/>
              <a:ext cx="1103942" cy="261610"/>
            </a:xfrm>
            <a:prstGeom prst="rect">
              <a:avLst/>
            </a:prstGeom>
            <a:solidFill>
              <a:srgbClr val="92D050"/>
            </a:solidFill>
          </p:spPr>
          <p:txBody>
            <a:bodyPr wrap="square" rtlCol="0" anchor="b">
              <a:spAutoFit/>
            </a:bodyPr>
            <a:lstStyle/>
            <a:p>
              <a:pPr algn="r"/>
              <a:r>
                <a:rPr lang="en-US" sz="11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90 mins</a:t>
              </a:r>
            </a:p>
          </p:txBody>
        </p:sp>
        <p:sp>
          <p:nvSpPr>
            <p:cNvPr id="8" name="Freeform 988">
              <a:extLst>
                <a:ext uri="{FF2B5EF4-FFF2-40B4-BE49-F238E27FC236}">
                  <a16:creationId xmlns:a16="http://schemas.microsoft.com/office/drawing/2014/main" id="{3EFA6004-CF21-437E-814F-B75614FD822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83421" y="2640654"/>
              <a:ext cx="261610" cy="261610"/>
            </a:xfrm>
            <a:custGeom>
              <a:avLst/>
              <a:gdLst>
                <a:gd name="T0" fmla="*/ 256 w 512"/>
                <a:gd name="T1" fmla="*/ 117 h 512"/>
                <a:gd name="T2" fmla="*/ 117 w 512"/>
                <a:gd name="T3" fmla="*/ 256 h 512"/>
                <a:gd name="T4" fmla="*/ 256 w 512"/>
                <a:gd name="T5" fmla="*/ 394 h 512"/>
                <a:gd name="T6" fmla="*/ 394 w 512"/>
                <a:gd name="T7" fmla="*/ 256 h 512"/>
                <a:gd name="T8" fmla="*/ 256 w 512"/>
                <a:gd name="T9" fmla="*/ 117 h 512"/>
                <a:gd name="T10" fmla="*/ 245 w 512"/>
                <a:gd name="T11" fmla="*/ 149 h 512"/>
                <a:gd name="T12" fmla="*/ 256 w 512"/>
                <a:gd name="T13" fmla="*/ 138 h 512"/>
                <a:gd name="T14" fmla="*/ 266 w 512"/>
                <a:gd name="T15" fmla="*/ 149 h 512"/>
                <a:gd name="T16" fmla="*/ 266 w 512"/>
                <a:gd name="T17" fmla="*/ 160 h 512"/>
                <a:gd name="T18" fmla="*/ 256 w 512"/>
                <a:gd name="T19" fmla="*/ 170 h 512"/>
                <a:gd name="T20" fmla="*/ 245 w 512"/>
                <a:gd name="T21" fmla="*/ 160 h 512"/>
                <a:gd name="T22" fmla="*/ 245 w 512"/>
                <a:gd name="T23" fmla="*/ 149 h 512"/>
                <a:gd name="T24" fmla="*/ 160 w 512"/>
                <a:gd name="T25" fmla="*/ 266 h 512"/>
                <a:gd name="T26" fmla="*/ 149 w 512"/>
                <a:gd name="T27" fmla="*/ 266 h 512"/>
                <a:gd name="T28" fmla="*/ 138 w 512"/>
                <a:gd name="T29" fmla="*/ 256 h 512"/>
                <a:gd name="T30" fmla="*/ 149 w 512"/>
                <a:gd name="T31" fmla="*/ 245 h 512"/>
                <a:gd name="T32" fmla="*/ 160 w 512"/>
                <a:gd name="T33" fmla="*/ 245 h 512"/>
                <a:gd name="T34" fmla="*/ 170 w 512"/>
                <a:gd name="T35" fmla="*/ 256 h 512"/>
                <a:gd name="T36" fmla="*/ 160 w 512"/>
                <a:gd name="T37" fmla="*/ 266 h 512"/>
                <a:gd name="T38" fmla="*/ 266 w 512"/>
                <a:gd name="T39" fmla="*/ 362 h 512"/>
                <a:gd name="T40" fmla="*/ 256 w 512"/>
                <a:gd name="T41" fmla="*/ 373 h 512"/>
                <a:gd name="T42" fmla="*/ 245 w 512"/>
                <a:gd name="T43" fmla="*/ 362 h 512"/>
                <a:gd name="T44" fmla="*/ 245 w 512"/>
                <a:gd name="T45" fmla="*/ 352 h 512"/>
                <a:gd name="T46" fmla="*/ 256 w 512"/>
                <a:gd name="T47" fmla="*/ 341 h 512"/>
                <a:gd name="T48" fmla="*/ 266 w 512"/>
                <a:gd name="T49" fmla="*/ 352 h 512"/>
                <a:gd name="T50" fmla="*/ 266 w 512"/>
                <a:gd name="T51" fmla="*/ 362 h 512"/>
                <a:gd name="T52" fmla="*/ 306 w 512"/>
                <a:gd name="T53" fmla="*/ 231 h 512"/>
                <a:gd name="T54" fmla="*/ 263 w 512"/>
                <a:gd name="T55" fmla="*/ 274 h 512"/>
                <a:gd name="T56" fmla="*/ 256 w 512"/>
                <a:gd name="T57" fmla="*/ 277 h 512"/>
                <a:gd name="T58" fmla="*/ 248 w 512"/>
                <a:gd name="T59" fmla="*/ 274 h 512"/>
                <a:gd name="T60" fmla="*/ 173 w 512"/>
                <a:gd name="T61" fmla="*/ 199 h 512"/>
                <a:gd name="T62" fmla="*/ 173 w 512"/>
                <a:gd name="T63" fmla="*/ 184 h 512"/>
                <a:gd name="T64" fmla="*/ 189 w 512"/>
                <a:gd name="T65" fmla="*/ 184 h 512"/>
                <a:gd name="T66" fmla="*/ 256 w 512"/>
                <a:gd name="T67" fmla="*/ 251 h 512"/>
                <a:gd name="T68" fmla="*/ 291 w 512"/>
                <a:gd name="T69" fmla="*/ 216 h 512"/>
                <a:gd name="T70" fmla="*/ 306 w 512"/>
                <a:gd name="T71" fmla="*/ 216 h 512"/>
                <a:gd name="T72" fmla="*/ 306 w 512"/>
                <a:gd name="T73" fmla="*/ 231 h 512"/>
                <a:gd name="T74" fmla="*/ 373 w 512"/>
                <a:gd name="T75" fmla="*/ 256 h 512"/>
                <a:gd name="T76" fmla="*/ 362 w 512"/>
                <a:gd name="T77" fmla="*/ 266 h 512"/>
                <a:gd name="T78" fmla="*/ 352 w 512"/>
                <a:gd name="T79" fmla="*/ 266 h 512"/>
                <a:gd name="T80" fmla="*/ 341 w 512"/>
                <a:gd name="T81" fmla="*/ 256 h 512"/>
                <a:gd name="T82" fmla="*/ 352 w 512"/>
                <a:gd name="T83" fmla="*/ 245 h 512"/>
                <a:gd name="T84" fmla="*/ 362 w 512"/>
                <a:gd name="T85" fmla="*/ 245 h 512"/>
                <a:gd name="T86" fmla="*/ 373 w 512"/>
                <a:gd name="T87" fmla="*/ 256 h 512"/>
                <a:gd name="T88" fmla="*/ 256 w 512"/>
                <a:gd name="T89" fmla="*/ 0 h 512"/>
                <a:gd name="T90" fmla="*/ 0 w 512"/>
                <a:gd name="T91" fmla="*/ 256 h 512"/>
                <a:gd name="T92" fmla="*/ 256 w 512"/>
                <a:gd name="T93" fmla="*/ 512 h 512"/>
                <a:gd name="T94" fmla="*/ 512 w 512"/>
                <a:gd name="T95" fmla="*/ 256 h 512"/>
                <a:gd name="T96" fmla="*/ 256 w 512"/>
                <a:gd name="T97" fmla="*/ 0 h 512"/>
                <a:gd name="T98" fmla="*/ 256 w 512"/>
                <a:gd name="T99" fmla="*/ 416 h 512"/>
                <a:gd name="T100" fmla="*/ 96 w 512"/>
                <a:gd name="T101" fmla="*/ 256 h 512"/>
                <a:gd name="T102" fmla="*/ 256 w 512"/>
                <a:gd name="T103" fmla="*/ 96 h 512"/>
                <a:gd name="T104" fmla="*/ 416 w 512"/>
                <a:gd name="T105" fmla="*/ 256 h 512"/>
                <a:gd name="T106" fmla="*/ 256 w 512"/>
                <a:gd name="T107" fmla="*/ 416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12" h="512">
                  <a:moveTo>
                    <a:pt x="256" y="117"/>
                  </a:moveTo>
                  <a:cubicBezTo>
                    <a:pt x="179" y="117"/>
                    <a:pt x="117" y="179"/>
                    <a:pt x="117" y="256"/>
                  </a:cubicBezTo>
                  <a:cubicBezTo>
                    <a:pt x="117" y="332"/>
                    <a:pt x="179" y="394"/>
                    <a:pt x="256" y="394"/>
                  </a:cubicBezTo>
                  <a:cubicBezTo>
                    <a:pt x="332" y="394"/>
                    <a:pt x="394" y="332"/>
                    <a:pt x="394" y="256"/>
                  </a:cubicBezTo>
                  <a:cubicBezTo>
                    <a:pt x="394" y="179"/>
                    <a:pt x="332" y="117"/>
                    <a:pt x="256" y="117"/>
                  </a:cubicBezTo>
                  <a:close/>
                  <a:moveTo>
                    <a:pt x="245" y="149"/>
                  </a:moveTo>
                  <a:cubicBezTo>
                    <a:pt x="245" y="143"/>
                    <a:pt x="250" y="138"/>
                    <a:pt x="256" y="138"/>
                  </a:cubicBezTo>
                  <a:cubicBezTo>
                    <a:pt x="262" y="138"/>
                    <a:pt x="266" y="143"/>
                    <a:pt x="266" y="149"/>
                  </a:cubicBezTo>
                  <a:cubicBezTo>
                    <a:pt x="266" y="160"/>
                    <a:pt x="266" y="160"/>
                    <a:pt x="266" y="160"/>
                  </a:cubicBezTo>
                  <a:cubicBezTo>
                    <a:pt x="266" y="166"/>
                    <a:pt x="262" y="170"/>
                    <a:pt x="256" y="170"/>
                  </a:cubicBezTo>
                  <a:cubicBezTo>
                    <a:pt x="250" y="170"/>
                    <a:pt x="245" y="166"/>
                    <a:pt x="245" y="160"/>
                  </a:cubicBezTo>
                  <a:lnTo>
                    <a:pt x="245" y="149"/>
                  </a:lnTo>
                  <a:close/>
                  <a:moveTo>
                    <a:pt x="160" y="266"/>
                  </a:moveTo>
                  <a:cubicBezTo>
                    <a:pt x="149" y="266"/>
                    <a:pt x="149" y="266"/>
                    <a:pt x="149" y="266"/>
                  </a:cubicBezTo>
                  <a:cubicBezTo>
                    <a:pt x="143" y="266"/>
                    <a:pt x="138" y="262"/>
                    <a:pt x="138" y="256"/>
                  </a:cubicBezTo>
                  <a:cubicBezTo>
                    <a:pt x="138" y="250"/>
                    <a:pt x="143" y="245"/>
                    <a:pt x="149" y="245"/>
                  </a:cubicBezTo>
                  <a:cubicBezTo>
                    <a:pt x="160" y="245"/>
                    <a:pt x="160" y="245"/>
                    <a:pt x="160" y="245"/>
                  </a:cubicBezTo>
                  <a:cubicBezTo>
                    <a:pt x="166" y="245"/>
                    <a:pt x="170" y="250"/>
                    <a:pt x="170" y="256"/>
                  </a:cubicBezTo>
                  <a:cubicBezTo>
                    <a:pt x="170" y="262"/>
                    <a:pt x="166" y="266"/>
                    <a:pt x="160" y="266"/>
                  </a:cubicBezTo>
                  <a:close/>
                  <a:moveTo>
                    <a:pt x="266" y="362"/>
                  </a:moveTo>
                  <a:cubicBezTo>
                    <a:pt x="266" y="368"/>
                    <a:pt x="262" y="373"/>
                    <a:pt x="256" y="373"/>
                  </a:cubicBezTo>
                  <a:cubicBezTo>
                    <a:pt x="250" y="373"/>
                    <a:pt x="245" y="368"/>
                    <a:pt x="245" y="362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245" y="346"/>
                    <a:pt x="250" y="341"/>
                    <a:pt x="256" y="341"/>
                  </a:cubicBezTo>
                  <a:cubicBezTo>
                    <a:pt x="262" y="341"/>
                    <a:pt x="266" y="346"/>
                    <a:pt x="266" y="352"/>
                  </a:cubicBezTo>
                  <a:lnTo>
                    <a:pt x="266" y="362"/>
                  </a:lnTo>
                  <a:close/>
                  <a:moveTo>
                    <a:pt x="306" y="231"/>
                  </a:moveTo>
                  <a:cubicBezTo>
                    <a:pt x="263" y="274"/>
                    <a:pt x="263" y="274"/>
                    <a:pt x="263" y="274"/>
                  </a:cubicBezTo>
                  <a:cubicBezTo>
                    <a:pt x="261" y="276"/>
                    <a:pt x="258" y="277"/>
                    <a:pt x="256" y="277"/>
                  </a:cubicBezTo>
                  <a:cubicBezTo>
                    <a:pt x="253" y="277"/>
                    <a:pt x="250" y="276"/>
                    <a:pt x="248" y="274"/>
                  </a:cubicBezTo>
                  <a:cubicBezTo>
                    <a:pt x="173" y="199"/>
                    <a:pt x="173" y="199"/>
                    <a:pt x="173" y="199"/>
                  </a:cubicBezTo>
                  <a:cubicBezTo>
                    <a:pt x="169" y="195"/>
                    <a:pt x="169" y="188"/>
                    <a:pt x="173" y="184"/>
                  </a:cubicBezTo>
                  <a:cubicBezTo>
                    <a:pt x="178" y="180"/>
                    <a:pt x="184" y="180"/>
                    <a:pt x="189" y="184"/>
                  </a:cubicBezTo>
                  <a:cubicBezTo>
                    <a:pt x="256" y="251"/>
                    <a:pt x="256" y="251"/>
                    <a:pt x="256" y="251"/>
                  </a:cubicBezTo>
                  <a:cubicBezTo>
                    <a:pt x="291" y="216"/>
                    <a:pt x="291" y="216"/>
                    <a:pt x="291" y="216"/>
                  </a:cubicBezTo>
                  <a:cubicBezTo>
                    <a:pt x="295" y="212"/>
                    <a:pt x="302" y="212"/>
                    <a:pt x="306" y="216"/>
                  </a:cubicBezTo>
                  <a:cubicBezTo>
                    <a:pt x="310" y="220"/>
                    <a:pt x="310" y="227"/>
                    <a:pt x="306" y="231"/>
                  </a:cubicBezTo>
                  <a:close/>
                  <a:moveTo>
                    <a:pt x="373" y="256"/>
                  </a:moveTo>
                  <a:cubicBezTo>
                    <a:pt x="373" y="262"/>
                    <a:pt x="368" y="266"/>
                    <a:pt x="362" y="266"/>
                  </a:cubicBezTo>
                  <a:cubicBezTo>
                    <a:pt x="352" y="266"/>
                    <a:pt x="352" y="266"/>
                    <a:pt x="352" y="266"/>
                  </a:cubicBezTo>
                  <a:cubicBezTo>
                    <a:pt x="346" y="266"/>
                    <a:pt x="341" y="262"/>
                    <a:pt x="341" y="256"/>
                  </a:cubicBezTo>
                  <a:cubicBezTo>
                    <a:pt x="341" y="250"/>
                    <a:pt x="346" y="245"/>
                    <a:pt x="352" y="245"/>
                  </a:cubicBezTo>
                  <a:cubicBezTo>
                    <a:pt x="362" y="245"/>
                    <a:pt x="362" y="245"/>
                    <a:pt x="362" y="245"/>
                  </a:cubicBezTo>
                  <a:cubicBezTo>
                    <a:pt x="368" y="245"/>
                    <a:pt x="373" y="250"/>
                    <a:pt x="373" y="256"/>
                  </a:cubicBezTo>
                  <a:close/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16"/>
                  </a:moveTo>
                  <a:cubicBezTo>
                    <a:pt x="167" y="416"/>
                    <a:pt x="96" y="344"/>
                    <a:pt x="96" y="256"/>
                  </a:cubicBezTo>
                  <a:cubicBezTo>
                    <a:pt x="96" y="167"/>
                    <a:pt x="167" y="96"/>
                    <a:pt x="256" y="96"/>
                  </a:cubicBezTo>
                  <a:cubicBezTo>
                    <a:pt x="344" y="96"/>
                    <a:pt x="416" y="167"/>
                    <a:pt x="416" y="256"/>
                  </a:cubicBezTo>
                  <a:cubicBezTo>
                    <a:pt x="416" y="344"/>
                    <a:pt x="344" y="416"/>
                    <a:pt x="256" y="41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78105462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g5c6d0d8677_0_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1" name="Google Shape;191;g5c6d0d8677_0_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1371056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wo main types of supervised learning proble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B0651B-7B29-B646-AD79-DD7B1FBF8E84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634765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wo main types of supervised learning proble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B0651B-7B29-B646-AD79-DD7B1FBF8E84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7575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g5c6d0d8677_0_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1" name="Google Shape;191;g5c6d0d8677_0_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7766412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g5c6d0d8677_0_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1" name="Google Shape;191;g5c6d0d8677_0_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7109961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g5c6d0d8677_0_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1" name="Google Shape;191;g5c6d0d8677_0_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1714263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g5c6d0d8677_0_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1" name="Google Shape;191;g5c6d0d8677_0_8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2744090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494845" y="3966398"/>
            <a:ext cx="5613621" cy="5272789"/>
          </a:xfrm>
          <a:prstGeom prst="rect">
            <a:avLst/>
          </a:prstGeom>
        </p:spPr>
        <p:txBody>
          <a:bodyPr/>
          <a:lstStyle/>
          <a:p>
            <a:pPr defTabSz="1002429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844675" y="765175"/>
            <a:ext cx="4735513" cy="2663825"/>
          </a:xfrm>
        </p:spPr>
      </p:sp>
      <p:sp>
        <p:nvSpPr>
          <p:cNvPr id="4" name="TextBox 3"/>
          <p:cNvSpPr txBox="1"/>
          <p:nvPr/>
        </p:nvSpPr>
        <p:spPr>
          <a:xfrm>
            <a:off x="188695" y="2078842"/>
            <a:ext cx="1147456" cy="434330"/>
          </a:xfrm>
          <a:prstGeom prst="rect">
            <a:avLst/>
          </a:prstGeom>
          <a:solidFill>
            <a:srgbClr val="92D050"/>
          </a:solidFill>
        </p:spPr>
        <p:txBody>
          <a:bodyPr wrap="square" lIns="94851" tIns="47425" rIns="94851" bIns="47425" rtlCol="0" anchor="b">
            <a:spAutoFit/>
          </a:bodyPr>
          <a:lstStyle/>
          <a:p>
            <a:pPr algn="ctr" defTabSz="1264645">
              <a:defRPr/>
            </a:pPr>
            <a:r>
              <a:rPr lang="en-US" sz="11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ule 1 –</a:t>
            </a:r>
            <a:r>
              <a:rPr lang="en-US" sz="1100" b="1" spc="-93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hat is Agile?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CBD41DC-386B-4BE3-8223-CFB5AABF6048}"/>
              </a:ext>
            </a:extLst>
          </p:cNvPr>
          <p:cNvGrpSpPr/>
          <p:nvPr/>
        </p:nvGrpSpPr>
        <p:grpSpPr>
          <a:xfrm>
            <a:off x="176535" y="2640654"/>
            <a:ext cx="1103942" cy="261610"/>
            <a:chOff x="176535" y="2640654"/>
            <a:chExt cx="1103942" cy="26161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6CA3565-0BE6-4275-91A2-2C3B28DD57E3}"/>
                </a:ext>
              </a:extLst>
            </p:cNvPr>
            <p:cNvSpPr txBox="1"/>
            <p:nvPr/>
          </p:nvSpPr>
          <p:spPr>
            <a:xfrm>
              <a:off x="176535" y="2640654"/>
              <a:ext cx="1103942" cy="261610"/>
            </a:xfrm>
            <a:prstGeom prst="rect">
              <a:avLst/>
            </a:prstGeom>
            <a:solidFill>
              <a:srgbClr val="92D050"/>
            </a:solidFill>
          </p:spPr>
          <p:txBody>
            <a:bodyPr wrap="square" rtlCol="0" anchor="b">
              <a:spAutoFit/>
            </a:bodyPr>
            <a:lstStyle/>
            <a:p>
              <a:pPr algn="r"/>
              <a:r>
                <a:rPr lang="en-US" sz="11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90 mins</a:t>
              </a:r>
            </a:p>
          </p:txBody>
        </p:sp>
        <p:sp>
          <p:nvSpPr>
            <p:cNvPr id="8" name="Freeform 988">
              <a:extLst>
                <a:ext uri="{FF2B5EF4-FFF2-40B4-BE49-F238E27FC236}">
                  <a16:creationId xmlns:a16="http://schemas.microsoft.com/office/drawing/2014/main" id="{3EFA6004-CF21-437E-814F-B75614FD822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83421" y="2640654"/>
              <a:ext cx="261610" cy="261610"/>
            </a:xfrm>
            <a:custGeom>
              <a:avLst/>
              <a:gdLst>
                <a:gd name="T0" fmla="*/ 256 w 512"/>
                <a:gd name="T1" fmla="*/ 117 h 512"/>
                <a:gd name="T2" fmla="*/ 117 w 512"/>
                <a:gd name="T3" fmla="*/ 256 h 512"/>
                <a:gd name="T4" fmla="*/ 256 w 512"/>
                <a:gd name="T5" fmla="*/ 394 h 512"/>
                <a:gd name="T6" fmla="*/ 394 w 512"/>
                <a:gd name="T7" fmla="*/ 256 h 512"/>
                <a:gd name="T8" fmla="*/ 256 w 512"/>
                <a:gd name="T9" fmla="*/ 117 h 512"/>
                <a:gd name="T10" fmla="*/ 245 w 512"/>
                <a:gd name="T11" fmla="*/ 149 h 512"/>
                <a:gd name="T12" fmla="*/ 256 w 512"/>
                <a:gd name="T13" fmla="*/ 138 h 512"/>
                <a:gd name="T14" fmla="*/ 266 w 512"/>
                <a:gd name="T15" fmla="*/ 149 h 512"/>
                <a:gd name="T16" fmla="*/ 266 w 512"/>
                <a:gd name="T17" fmla="*/ 160 h 512"/>
                <a:gd name="T18" fmla="*/ 256 w 512"/>
                <a:gd name="T19" fmla="*/ 170 h 512"/>
                <a:gd name="T20" fmla="*/ 245 w 512"/>
                <a:gd name="T21" fmla="*/ 160 h 512"/>
                <a:gd name="T22" fmla="*/ 245 w 512"/>
                <a:gd name="T23" fmla="*/ 149 h 512"/>
                <a:gd name="T24" fmla="*/ 160 w 512"/>
                <a:gd name="T25" fmla="*/ 266 h 512"/>
                <a:gd name="T26" fmla="*/ 149 w 512"/>
                <a:gd name="T27" fmla="*/ 266 h 512"/>
                <a:gd name="T28" fmla="*/ 138 w 512"/>
                <a:gd name="T29" fmla="*/ 256 h 512"/>
                <a:gd name="T30" fmla="*/ 149 w 512"/>
                <a:gd name="T31" fmla="*/ 245 h 512"/>
                <a:gd name="T32" fmla="*/ 160 w 512"/>
                <a:gd name="T33" fmla="*/ 245 h 512"/>
                <a:gd name="T34" fmla="*/ 170 w 512"/>
                <a:gd name="T35" fmla="*/ 256 h 512"/>
                <a:gd name="T36" fmla="*/ 160 w 512"/>
                <a:gd name="T37" fmla="*/ 266 h 512"/>
                <a:gd name="T38" fmla="*/ 266 w 512"/>
                <a:gd name="T39" fmla="*/ 362 h 512"/>
                <a:gd name="T40" fmla="*/ 256 w 512"/>
                <a:gd name="T41" fmla="*/ 373 h 512"/>
                <a:gd name="T42" fmla="*/ 245 w 512"/>
                <a:gd name="T43" fmla="*/ 362 h 512"/>
                <a:gd name="T44" fmla="*/ 245 w 512"/>
                <a:gd name="T45" fmla="*/ 352 h 512"/>
                <a:gd name="T46" fmla="*/ 256 w 512"/>
                <a:gd name="T47" fmla="*/ 341 h 512"/>
                <a:gd name="T48" fmla="*/ 266 w 512"/>
                <a:gd name="T49" fmla="*/ 352 h 512"/>
                <a:gd name="T50" fmla="*/ 266 w 512"/>
                <a:gd name="T51" fmla="*/ 362 h 512"/>
                <a:gd name="T52" fmla="*/ 306 w 512"/>
                <a:gd name="T53" fmla="*/ 231 h 512"/>
                <a:gd name="T54" fmla="*/ 263 w 512"/>
                <a:gd name="T55" fmla="*/ 274 h 512"/>
                <a:gd name="T56" fmla="*/ 256 w 512"/>
                <a:gd name="T57" fmla="*/ 277 h 512"/>
                <a:gd name="T58" fmla="*/ 248 w 512"/>
                <a:gd name="T59" fmla="*/ 274 h 512"/>
                <a:gd name="T60" fmla="*/ 173 w 512"/>
                <a:gd name="T61" fmla="*/ 199 h 512"/>
                <a:gd name="T62" fmla="*/ 173 w 512"/>
                <a:gd name="T63" fmla="*/ 184 h 512"/>
                <a:gd name="T64" fmla="*/ 189 w 512"/>
                <a:gd name="T65" fmla="*/ 184 h 512"/>
                <a:gd name="T66" fmla="*/ 256 w 512"/>
                <a:gd name="T67" fmla="*/ 251 h 512"/>
                <a:gd name="T68" fmla="*/ 291 w 512"/>
                <a:gd name="T69" fmla="*/ 216 h 512"/>
                <a:gd name="T70" fmla="*/ 306 w 512"/>
                <a:gd name="T71" fmla="*/ 216 h 512"/>
                <a:gd name="T72" fmla="*/ 306 w 512"/>
                <a:gd name="T73" fmla="*/ 231 h 512"/>
                <a:gd name="T74" fmla="*/ 373 w 512"/>
                <a:gd name="T75" fmla="*/ 256 h 512"/>
                <a:gd name="T76" fmla="*/ 362 w 512"/>
                <a:gd name="T77" fmla="*/ 266 h 512"/>
                <a:gd name="T78" fmla="*/ 352 w 512"/>
                <a:gd name="T79" fmla="*/ 266 h 512"/>
                <a:gd name="T80" fmla="*/ 341 w 512"/>
                <a:gd name="T81" fmla="*/ 256 h 512"/>
                <a:gd name="T82" fmla="*/ 352 w 512"/>
                <a:gd name="T83" fmla="*/ 245 h 512"/>
                <a:gd name="T84" fmla="*/ 362 w 512"/>
                <a:gd name="T85" fmla="*/ 245 h 512"/>
                <a:gd name="T86" fmla="*/ 373 w 512"/>
                <a:gd name="T87" fmla="*/ 256 h 512"/>
                <a:gd name="T88" fmla="*/ 256 w 512"/>
                <a:gd name="T89" fmla="*/ 0 h 512"/>
                <a:gd name="T90" fmla="*/ 0 w 512"/>
                <a:gd name="T91" fmla="*/ 256 h 512"/>
                <a:gd name="T92" fmla="*/ 256 w 512"/>
                <a:gd name="T93" fmla="*/ 512 h 512"/>
                <a:gd name="T94" fmla="*/ 512 w 512"/>
                <a:gd name="T95" fmla="*/ 256 h 512"/>
                <a:gd name="T96" fmla="*/ 256 w 512"/>
                <a:gd name="T97" fmla="*/ 0 h 512"/>
                <a:gd name="T98" fmla="*/ 256 w 512"/>
                <a:gd name="T99" fmla="*/ 416 h 512"/>
                <a:gd name="T100" fmla="*/ 96 w 512"/>
                <a:gd name="T101" fmla="*/ 256 h 512"/>
                <a:gd name="T102" fmla="*/ 256 w 512"/>
                <a:gd name="T103" fmla="*/ 96 h 512"/>
                <a:gd name="T104" fmla="*/ 416 w 512"/>
                <a:gd name="T105" fmla="*/ 256 h 512"/>
                <a:gd name="T106" fmla="*/ 256 w 512"/>
                <a:gd name="T107" fmla="*/ 416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12" h="512">
                  <a:moveTo>
                    <a:pt x="256" y="117"/>
                  </a:moveTo>
                  <a:cubicBezTo>
                    <a:pt x="179" y="117"/>
                    <a:pt x="117" y="179"/>
                    <a:pt x="117" y="256"/>
                  </a:cubicBezTo>
                  <a:cubicBezTo>
                    <a:pt x="117" y="332"/>
                    <a:pt x="179" y="394"/>
                    <a:pt x="256" y="394"/>
                  </a:cubicBezTo>
                  <a:cubicBezTo>
                    <a:pt x="332" y="394"/>
                    <a:pt x="394" y="332"/>
                    <a:pt x="394" y="256"/>
                  </a:cubicBezTo>
                  <a:cubicBezTo>
                    <a:pt x="394" y="179"/>
                    <a:pt x="332" y="117"/>
                    <a:pt x="256" y="117"/>
                  </a:cubicBezTo>
                  <a:close/>
                  <a:moveTo>
                    <a:pt x="245" y="149"/>
                  </a:moveTo>
                  <a:cubicBezTo>
                    <a:pt x="245" y="143"/>
                    <a:pt x="250" y="138"/>
                    <a:pt x="256" y="138"/>
                  </a:cubicBezTo>
                  <a:cubicBezTo>
                    <a:pt x="262" y="138"/>
                    <a:pt x="266" y="143"/>
                    <a:pt x="266" y="149"/>
                  </a:cubicBezTo>
                  <a:cubicBezTo>
                    <a:pt x="266" y="160"/>
                    <a:pt x="266" y="160"/>
                    <a:pt x="266" y="160"/>
                  </a:cubicBezTo>
                  <a:cubicBezTo>
                    <a:pt x="266" y="166"/>
                    <a:pt x="262" y="170"/>
                    <a:pt x="256" y="170"/>
                  </a:cubicBezTo>
                  <a:cubicBezTo>
                    <a:pt x="250" y="170"/>
                    <a:pt x="245" y="166"/>
                    <a:pt x="245" y="160"/>
                  </a:cubicBezTo>
                  <a:lnTo>
                    <a:pt x="245" y="149"/>
                  </a:lnTo>
                  <a:close/>
                  <a:moveTo>
                    <a:pt x="160" y="266"/>
                  </a:moveTo>
                  <a:cubicBezTo>
                    <a:pt x="149" y="266"/>
                    <a:pt x="149" y="266"/>
                    <a:pt x="149" y="266"/>
                  </a:cubicBezTo>
                  <a:cubicBezTo>
                    <a:pt x="143" y="266"/>
                    <a:pt x="138" y="262"/>
                    <a:pt x="138" y="256"/>
                  </a:cubicBezTo>
                  <a:cubicBezTo>
                    <a:pt x="138" y="250"/>
                    <a:pt x="143" y="245"/>
                    <a:pt x="149" y="245"/>
                  </a:cubicBezTo>
                  <a:cubicBezTo>
                    <a:pt x="160" y="245"/>
                    <a:pt x="160" y="245"/>
                    <a:pt x="160" y="245"/>
                  </a:cubicBezTo>
                  <a:cubicBezTo>
                    <a:pt x="166" y="245"/>
                    <a:pt x="170" y="250"/>
                    <a:pt x="170" y="256"/>
                  </a:cubicBezTo>
                  <a:cubicBezTo>
                    <a:pt x="170" y="262"/>
                    <a:pt x="166" y="266"/>
                    <a:pt x="160" y="266"/>
                  </a:cubicBezTo>
                  <a:close/>
                  <a:moveTo>
                    <a:pt x="266" y="362"/>
                  </a:moveTo>
                  <a:cubicBezTo>
                    <a:pt x="266" y="368"/>
                    <a:pt x="262" y="373"/>
                    <a:pt x="256" y="373"/>
                  </a:cubicBezTo>
                  <a:cubicBezTo>
                    <a:pt x="250" y="373"/>
                    <a:pt x="245" y="368"/>
                    <a:pt x="245" y="362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245" y="346"/>
                    <a:pt x="250" y="341"/>
                    <a:pt x="256" y="341"/>
                  </a:cubicBezTo>
                  <a:cubicBezTo>
                    <a:pt x="262" y="341"/>
                    <a:pt x="266" y="346"/>
                    <a:pt x="266" y="352"/>
                  </a:cubicBezTo>
                  <a:lnTo>
                    <a:pt x="266" y="362"/>
                  </a:lnTo>
                  <a:close/>
                  <a:moveTo>
                    <a:pt x="306" y="231"/>
                  </a:moveTo>
                  <a:cubicBezTo>
                    <a:pt x="263" y="274"/>
                    <a:pt x="263" y="274"/>
                    <a:pt x="263" y="274"/>
                  </a:cubicBezTo>
                  <a:cubicBezTo>
                    <a:pt x="261" y="276"/>
                    <a:pt x="258" y="277"/>
                    <a:pt x="256" y="277"/>
                  </a:cubicBezTo>
                  <a:cubicBezTo>
                    <a:pt x="253" y="277"/>
                    <a:pt x="250" y="276"/>
                    <a:pt x="248" y="274"/>
                  </a:cubicBezTo>
                  <a:cubicBezTo>
                    <a:pt x="173" y="199"/>
                    <a:pt x="173" y="199"/>
                    <a:pt x="173" y="199"/>
                  </a:cubicBezTo>
                  <a:cubicBezTo>
                    <a:pt x="169" y="195"/>
                    <a:pt x="169" y="188"/>
                    <a:pt x="173" y="184"/>
                  </a:cubicBezTo>
                  <a:cubicBezTo>
                    <a:pt x="178" y="180"/>
                    <a:pt x="184" y="180"/>
                    <a:pt x="189" y="184"/>
                  </a:cubicBezTo>
                  <a:cubicBezTo>
                    <a:pt x="256" y="251"/>
                    <a:pt x="256" y="251"/>
                    <a:pt x="256" y="251"/>
                  </a:cubicBezTo>
                  <a:cubicBezTo>
                    <a:pt x="291" y="216"/>
                    <a:pt x="291" y="216"/>
                    <a:pt x="291" y="216"/>
                  </a:cubicBezTo>
                  <a:cubicBezTo>
                    <a:pt x="295" y="212"/>
                    <a:pt x="302" y="212"/>
                    <a:pt x="306" y="216"/>
                  </a:cubicBezTo>
                  <a:cubicBezTo>
                    <a:pt x="310" y="220"/>
                    <a:pt x="310" y="227"/>
                    <a:pt x="306" y="231"/>
                  </a:cubicBezTo>
                  <a:close/>
                  <a:moveTo>
                    <a:pt x="373" y="256"/>
                  </a:moveTo>
                  <a:cubicBezTo>
                    <a:pt x="373" y="262"/>
                    <a:pt x="368" y="266"/>
                    <a:pt x="362" y="266"/>
                  </a:cubicBezTo>
                  <a:cubicBezTo>
                    <a:pt x="352" y="266"/>
                    <a:pt x="352" y="266"/>
                    <a:pt x="352" y="266"/>
                  </a:cubicBezTo>
                  <a:cubicBezTo>
                    <a:pt x="346" y="266"/>
                    <a:pt x="341" y="262"/>
                    <a:pt x="341" y="256"/>
                  </a:cubicBezTo>
                  <a:cubicBezTo>
                    <a:pt x="341" y="250"/>
                    <a:pt x="346" y="245"/>
                    <a:pt x="352" y="245"/>
                  </a:cubicBezTo>
                  <a:cubicBezTo>
                    <a:pt x="362" y="245"/>
                    <a:pt x="362" y="245"/>
                    <a:pt x="362" y="245"/>
                  </a:cubicBezTo>
                  <a:cubicBezTo>
                    <a:pt x="368" y="245"/>
                    <a:pt x="373" y="250"/>
                    <a:pt x="373" y="256"/>
                  </a:cubicBezTo>
                  <a:close/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16"/>
                  </a:moveTo>
                  <a:cubicBezTo>
                    <a:pt x="167" y="416"/>
                    <a:pt x="96" y="344"/>
                    <a:pt x="96" y="256"/>
                  </a:cubicBezTo>
                  <a:cubicBezTo>
                    <a:pt x="96" y="167"/>
                    <a:pt x="167" y="96"/>
                    <a:pt x="256" y="96"/>
                  </a:cubicBezTo>
                  <a:cubicBezTo>
                    <a:pt x="344" y="96"/>
                    <a:pt x="416" y="167"/>
                    <a:pt x="416" y="256"/>
                  </a:cubicBezTo>
                  <a:cubicBezTo>
                    <a:pt x="416" y="344"/>
                    <a:pt x="344" y="416"/>
                    <a:pt x="256" y="41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54885704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5c8d4edbeb_0_2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5c8d4edbeb_0_2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5c8d4edbeb_0_2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5c8d4edbeb_0_2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837755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497496" y="3975908"/>
            <a:ext cx="5658678" cy="549249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188695" y="4656721"/>
            <a:ext cx="1147455" cy="667522"/>
            <a:chOff x="136363" y="6047620"/>
            <a:chExt cx="1099644" cy="646331"/>
          </a:xfrm>
        </p:grpSpPr>
        <p:sp>
          <p:nvSpPr>
            <p:cNvPr id="6" name="TextBox 5"/>
            <p:cNvSpPr txBox="1"/>
            <p:nvPr/>
          </p:nvSpPr>
          <p:spPr>
            <a:xfrm>
              <a:off x="136363" y="6047620"/>
              <a:ext cx="1099644" cy="646331"/>
            </a:xfrm>
            <a:prstGeom prst="rect">
              <a:avLst/>
            </a:prstGeom>
            <a:solidFill>
              <a:srgbClr val="92D050"/>
            </a:solidFill>
          </p:spPr>
          <p:txBody>
            <a:bodyPr wrap="square" rtlCol="0" anchor="ctr">
              <a:spAutoFit/>
            </a:bodyPr>
            <a:lstStyle/>
            <a:p>
              <a:pPr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 defTabSz="1264645">
                <a:defRPr/>
              </a:pPr>
              <a:r>
                <a:rPr lang="en-US" sz="9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iscuss</a:t>
              </a:r>
            </a:p>
          </p:txBody>
        </p:sp>
        <p:sp>
          <p:nvSpPr>
            <p:cNvPr id="7" name="Freeform 430"/>
            <p:cNvSpPr>
              <a:spLocks noChangeAspect="1" noEditPoints="1"/>
            </p:cNvSpPr>
            <p:nvPr/>
          </p:nvSpPr>
          <p:spPr bwMode="auto">
            <a:xfrm>
              <a:off x="493739" y="6116870"/>
              <a:ext cx="376296" cy="344890"/>
            </a:xfrm>
            <a:custGeom>
              <a:avLst/>
              <a:gdLst>
                <a:gd name="T0" fmla="*/ 235 w 512"/>
                <a:gd name="T1" fmla="*/ 139 h 512"/>
                <a:gd name="T2" fmla="*/ 256 w 512"/>
                <a:gd name="T3" fmla="*/ 118 h 512"/>
                <a:gd name="T4" fmla="*/ 277 w 512"/>
                <a:gd name="T5" fmla="*/ 139 h 512"/>
                <a:gd name="T6" fmla="*/ 256 w 512"/>
                <a:gd name="T7" fmla="*/ 160 h 512"/>
                <a:gd name="T8" fmla="*/ 235 w 512"/>
                <a:gd name="T9" fmla="*/ 139 h 512"/>
                <a:gd name="T10" fmla="*/ 267 w 512"/>
                <a:gd name="T11" fmla="*/ 363 h 512"/>
                <a:gd name="T12" fmla="*/ 267 w 512"/>
                <a:gd name="T13" fmla="*/ 224 h 512"/>
                <a:gd name="T14" fmla="*/ 213 w 512"/>
                <a:gd name="T15" fmla="*/ 224 h 512"/>
                <a:gd name="T16" fmla="*/ 213 w 512"/>
                <a:gd name="T17" fmla="*/ 246 h 512"/>
                <a:gd name="T18" fmla="*/ 235 w 512"/>
                <a:gd name="T19" fmla="*/ 246 h 512"/>
                <a:gd name="T20" fmla="*/ 245 w 512"/>
                <a:gd name="T21" fmla="*/ 256 h 512"/>
                <a:gd name="T22" fmla="*/ 245 w 512"/>
                <a:gd name="T23" fmla="*/ 363 h 512"/>
                <a:gd name="T24" fmla="*/ 235 w 512"/>
                <a:gd name="T25" fmla="*/ 374 h 512"/>
                <a:gd name="T26" fmla="*/ 203 w 512"/>
                <a:gd name="T27" fmla="*/ 374 h 512"/>
                <a:gd name="T28" fmla="*/ 203 w 512"/>
                <a:gd name="T29" fmla="*/ 395 h 512"/>
                <a:gd name="T30" fmla="*/ 309 w 512"/>
                <a:gd name="T31" fmla="*/ 395 h 512"/>
                <a:gd name="T32" fmla="*/ 309 w 512"/>
                <a:gd name="T33" fmla="*/ 374 h 512"/>
                <a:gd name="T34" fmla="*/ 277 w 512"/>
                <a:gd name="T35" fmla="*/ 374 h 512"/>
                <a:gd name="T36" fmla="*/ 267 w 512"/>
                <a:gd name="T37" fmla="*/ 363 h 512"/>
                <a:gd name="T38" fmla="*/ 512 w 512"/>
                <a:gd name="T39" fmla="*/ 256 h 512"/>
                <a:gd name="T40" fmla="*/ 256 w 512"/>
                <a:gd name="T41" fmla="*/ 512 h 512"/>
                <a:gd name="T42" fmla="*/ 0 w 512"/>
                <a:gd name="T43" fmla="*/ 256 h 512"/>
                <a:gd name="T44" fmla="*/ 256 w 512"/>
                <a:gd name="T45" fmla="*/ 0 h 512"/>
                <a:gd name="T46" fmla="*/ 512 w 512"/>
                <a:gd name="T47" fmla="*/ 256 h 512"/>
                <a:gd name="T48" fmla="*/ 213 w 512"/>
                <a:gd name="T49" fmla="*/ 139 h 512"/>
                <a:gd name="T50" fmla="*/ 256 w 512"/>
                <a:gd name="T51" fmla="*/ 182 h 512"/>
                <a:gd name="T52" fmla="*/ 299 w 512"/>
                <a:gd name="T53" fmla="*/ 139 h 512"/>
                <a:gd name="T54" fmla="*/ 256 w 512"/>
                <a:gd name="T55" fmla="*/ 96 h 512"/>
                <a:gd name="T56" fmla="*/ 213 w 512"/>
                <a:gd name="T57" fmla="*/ 139 h 512"/>
                <a:gd name="T58" fmla="*/ 331 w 512"/>
                <a:gd name="T59" fmla="*/ 363 h 512"/>
                <a:gd name="T60" fmla="*/ 320 w 512"/>
                <a:gd name="T61" fmla="*/ 352 h 512"/>
                <a:gd name="T62" fmla="*/ 288 w 512"/>
                <a:gd name="T63" fmla="*/ 352 h 512"/>
                <a:gd name="T64" fmla="*/ 288 w 512"/>
                <a:gd name="T65" fmla="*/ 214 h 512"/>
                <a:gd name="T66" fmla="*/ 277 w 512"/>
                <a:gd name="T67" fmla="*/ 203 h 512"/>
                <a:gd name="T68" fmla="*/ 203 w 512"/>
                <a:gd name="T69" fmla="*/ 203 h 512"/>
                <a:gd name="T70" fmla="*/ 192 w 512"/>
                <a:gd name="T71" fmla="*/ 214 h 512"/>
                <a:gd name="T72" fmla="*/ 192 w 512"/>
                <a:gd name="T73" fmla="*/ 256 h 512"/>
                <a:gd name="T74" fmla="*/ 203 w 512"/>
                <a:gd name="T75" fmla="*/ 267 h 512"/>
                <a:gd name="T76" fmla="*/ 224 w 512"/>
                <a:gd name="T77" fmla="*/ 267 h 512"/>
                <a:gd name="T78" fmla="*/ 224 w 512"/>
                <a:gd name="T79" fmla="*/ 352 h 512"/>
                <a:gd name="T80" fmla="*/ 192 w 512"/>
                <a:gd name="T81" fmla="*/ 352 h 512"/>
                <a:gd name="T82" fmla="*/ 181 w 512"/>
                <a:gd name="T83" fmla="*/ 363 h 512"/>
                <a:gd name="T84" fmla="*/ 181 w 512"/>
                <a:gd name="T85" fmla="*/ 406 h 512"/>
                <a:gd name="T86" fmla="*/ 192 w 512"/>
                <a:gd name="T87" fmla="*/ 416 h 512"/>
                <a:gd name="T88" fmla="*/ 320 w 512"/>
                <a:gd name="T89" fmla="*/ 416 h 512"/>
                <a:gd name="T90" fmla="*/ 331 w 512"/>
                <a:gd name="T91" fmla="*/ 406 h 512"/>
                <a:gd name="T92" fmla="*/ 331 w 512"/>
                <a:gd name="T93" fmla="*/ 36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12" h="512">
                  <a:moveTo>
                    <a:pt x="235" y="139"/>
                  </a:moveTo>
                  <a:cubicBezTo>
                    <a:pt x="235" y="127"/>
                    <a:pt x="244" y="118"/>
                    <a:pt x="256" y="118"/>
                  </a:cubicBezTo>
                  <a:cubicBezTo>
                    <a:pt x="268" y="118"/>
                    <a:pt x="277" y="127"/>
                    <a:pt x="277" y="139"/>
                  </a:cubicBezTo>
                  <a:cubicBezTo>
                    <a:pt x="277" y="151"/>
                    <a:pt x="268" y="160"/>
                    <a:pt x="256" y="160"/>
                  </a:cubicBezTo>
                  <a:cubicBezTo>
                    <a:pt x="244" y="160"/>
                    <a:pt x="235" y="151"/>
                    <a:pt x="235" y="139"/>
                  </a:cubicBezTo>
                  <a:close/>
                  <a:moveTo>
                    <a:pt x="267" y="363"/>
                  </a:moveTo>
                  <a:cubicBezTo>
                    <a:pt x="267" y="224"/>
                    <a:pt x="267" y="224"/>
                    <a:pt x="267" y="224"/>
                  </a:cubicBezTo>
                  <a:cubicBezTo>
                    <a:pt x="213" y="224"/>
                    <a:pt x="213" y="224"/>
                    <a:pt x="213" y="224"/>
                  </a:cubicBezTo>
                  <a:cubicBezTo>
                    <a:pt x="213" y="246"/>
                    <a:pt x="213" y="246"/>
                    <a:pt x="213" y="246"/>
                  </a:cubicBezTo>
                  <a:cubicBezTo>
                    <a:pt x="235" y="246"/>
                    <a:pt x="235" y="246"/>
                    <a:pt x="235" y="246"/>
                  </a:cubicBezTo>
                  <a:cubicBezTo>
                    <a:pt x="241" y="246"/>
                    <a:pt x="245" y="250"/>
                    <a:pt x="245" y="256"/>
                  </a:cubicBezTo>
                  <a:cubicBezTo>
                    <a:pt x="245" y="363"/>
                    <a:pt x="245" y="363"/>
                    <a:pt x="245" y="363"/>
                  </a:cubicBezTo>
                  <a:cubicBezTo>
                    <a:pt x="245" y="369"/>
                    <a:pt x="241" y="374"/>
                    <a:pt x="235" y="374"/>
                  </a:cubicBezTo>
                  <a:cubicBezTo>
                    <a:pt x="203" y="374"/>
                    <a:pt x="203" y="374"/>
                    <a:pt x="203" y="374"/>
                  </a:cubicBezTo>
                  <a:cubicBezTo>
                    <a:pt x="203" y="395"/>
                    <a:pt x="203" y="395"/>
                    <a:pt x="203" y="395"/>
                  </a:cubicBezTo>
                  <a:cubicBezTo>
                    <a:pt x="309" y="395"/>
                    <a:pt x="309" y="395"/>
                    <a:pt x="309" y="395"/>
                  </a:cubicBezTo>
                  <a:cubicBezTo>
                    <a:pt x="309" y="374"/>
                    <a:pt x="309" y="374"/>
                    <a:pt x="309" y="374"/>
                  </a:cubicBezTo>
                  <a:cubicBezTo>
                    <a:pt x="277" y="374"/>
                    <a:pt x="277" y="374"/>
                    <a:pt x="277" y="374"/>
                  </a:cubicBezTo>
                  <a:cubicBezTo>
                    <a:pt x="271" y="374"/>
                    <a:pt x="267" y="369"/>
                    <a:pt x="267" y="363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213" y="139"/>
                  </a:moveTo>
                  <a:cubicBezTo>
                    <a:pt x="213" y="163"/>
                    <a:pt x="232" y="182"/>
                    <a:pt x="256" y="182"/>
                  </a:cubicBezTo>
                  <a:cubicBezTo>
                    <a:pt x="280" y="182"/>
                    <a:pt x="299" y="163"/>
                    <a:pt x="299" y="139"/>
                  </a:cubicBezTo>
                  <a:cubicBezTo>
                    <a:pt x="299" y="115"/>
                    <a:pt x="280" y="96"/>
                    <a:pt x="256" y="96"/>
                  </a:cubicBezTo>
                  <a:cubicBezTo>
                    <a:pt x="232" y="96"/>
                    <a:pt x="213" y="115"/>
                    <a:pt x="213" y="139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288" y="352"/>
                    <a:pt x="288" y="352"/>
                    <a:pt x="288" y="352"/>
                  </a:cubicBezTo>
                  <a:cubicBezTo>
                    <a:pt x="288" y="214"/>
                    <a:pt x="288" y="214"/>
                    <a:pt x="288" y="214"/>
                  </a:cubicBezTo>
                  <a:cubicBezTo>
                    <a:pt x="288" y="208"/>
                    <a:pt x="283" y="203"/>
                    <a:pt x="277" y="203"/>
                  </a:cubicBezTo>
                  <a:cubicBezTo>
                    <a:pt x="203" y="203"/>
                    <a:pt x="203" y="203"/>
                    <a:pt x="203" y="203"/>
                  </a:cubicBezTo>
                  <a:cubicBezTo>
                    <a:pt x="197" y="203"/>
                    <a:pt x="192" y="208"/>
                    <a:pt x="192" y="214"/>
                  </a:cubicBezTo>
                  <a:cubicBezTo>
                    <a:pt x="192" y="256"/>
                    <a:pt x="192" y="256"/>
                    <a:pt x="192" y="256"/>
                  </a:cubicBezTo>
                  <a:cubicBezTo>
                    <a:pt x="192" y="262"/>
                    <a:pt x="197" y="267"/>
                    <a:pt x="203" y="267"/>
                  </a:cubicBezTo>
                  <a:cubicBezTo>
                    <a:pt x="224" y="267"/>
                    <a:pt x="224" y="267"/>
                    <a:pt x="224" y="267"/>
                  </a:cubicBezTo>
                  <a:cubicBezTo>
                    <a:pt x="224" y="352"/>
                    <a:pt x="224" y="352"/>
                    <a:pt x="224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406"/>
                    <a:pt x="181" y="406"/>
                    <a:pt x="181" y="406"/>
                  </a:cubicBezTo>
                  <a:cubicBezTo>
                    <a:pt x="181" y="412"/>
                    <a:pt x="186" y="416"/>
                    <a:pt x="192" y="416"/>
                  </a:cubicBezTo>
                  <a:cubicBezTo>
                    <a:pt x="320" y="416"/>
                    <a:pt x="320" y="416"/>
                    <a:pt x="320" y="416"/>
                  </a:cubicBezTo>
                  <a:cubicBezTo>
                    <a:pt x="326" y="416"/>
                    <a:pt x="331" y="412"/>
                    <a:pt x="331" y="406"/>
                  </a:cubicBezTo>
                  <a:lnTo>
                    <a:pt x="331" y="36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64645">
                <a:defRPr/>
              </a:pPr>
              <a:endParaRPr lang="en-US" sz="12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0" name="Slide Image Placeholder 9"/>
          <p:cNvSpPr>
            <a:spLocks noGrp="1" noRot="1" noChangeAspect="1"/>
          </p:cNvSpPr>
          <p:nvPr>
            <p:ph type="sldImg"/>
          </p:nvPr>
        </p:nvSpPr>
        <p:spPr>
          <a:xfrm>
            <a:off x="1844675" y="765175"/>
            <a:ext cx="4735513" cy="2663825"/>
          </a:xfrm>
        </p:spPr>
      </p:sp>
      <p:sp>
        <p:nvSpPr>
          <p:cNvPr id="8" name="TextBox 7"/>
          <p:cNvSpPr txBox="1"/>
          <p:nvPr/>
        </p:nvSpPr>
        <p:spPr>
          <a:xfrm>
            <a:off x="188695" y="2078842"/>
            <a:ext cx="1147456" cy="434330"/>
          </a:xfrm>
          <a:prstGeom prst="rect">
            <a:avLst/>
          </a:prstGeom>
          <a:solidFill>
            <a:srgbClr val="92D050"/>
          </a:solidFill>
        </p:spPr>
        <p:txBody>
          <a:bodyPr wrap="square" lIns="94851" tIns="47425" rIns="94851" bIns="47425" rtlCol="0" anchor="b">
            <a:spAutoFit/>
          </a:bodyPr>
          <a:lstStyle/>
          <a:p>
            <a:pPr algn="ctr" defTabSz="1264645">
              <a:defRPr/>
            </a:pPr>
            <a:r>
              <a:rPr lang="en-US" sz="11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ule 1 –</a:t>
            </a:r>
            <a:r>
              <a:rPr lang="en-US" sz="1100" b="1" spc="-93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hat is Agile?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184210" y="5692220"/>
            <a:ext cx="1147455" cy="667522"/>
            <a:chOff x="176535" y="6142940"/>
            <a:chExt cx="1099644" cy="646331"/>
          </a:xfrm>
        </p:grpSpPr>
        <p:sp>
          <p:nvSpPr>
            <p:cNvPr id="12" name="TextBox 11"/>
            <p:cNvSpPr txBox="1"/>
            <p:nvPr/>
          </p:nvSpPr>
          <p:spPr>
            <a:xfrm>
              <a:off x="176535" y="6142940"/>
              <a:ext cx="1099644" cy="646331"/>
            </a:xfrm>
            <a:prstGeom prst="rect">
              <a:avLst/>
            </a:prstGeom>
            <a:solidFill>
              <a:srgbClr val="92D050"/>
            </a:solidFill>
          </p:spPr>
          <p:txBody>
            <a:bodyPr wrap="square" rtlCol="0" anchor="ctr">
              <a:spAutoFit/>
            </a:bodyPr>
            <a:lstStyle/>
            <a:p>
              <a:pPr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 defTabSz="1264645">
                <a:defRPr/>
              </a:pPr>
              <a:r>
                <a:rPr lang="en-US" sz="9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nimated Slide</a:t>
              </a:r>
            </a:p>
          </p:txBody>
        </p:sp>
        <p:sp>
          <p:nvSpPr>
            <p:cNvPr id="13" name="Freeform 696"/>
            <p:cNvSpPr>
              <a:spLocks noChangeAspect="1" noEditPoints="1"/>
            </p:cNvSpPr>
            <p:nvPr/>
          </p:nvSpPr>
          <p:spPr bwMode="auto">
            <a:xfrm>
              <a:off x="514406" y="6213729"/>
              <a:ext cx="377799" cy="347472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01 w 512"/>
                <a:gd name="T11" fmla="*/ 195 h 512"/>
                <a:gd name="T12" fmla="*/ 355 w 512"/>
                <a:gd name="T13" fmla="*/ 141 h 512"/>
                <a:gd name="T14" fmla="*/ 370 w 512"/>
                <a:gd name="T15" fmla="*/ 141 h 512"/>
                <a:gd name="T16" fmla="*/ 370 w 512"/>
                <a:gd name="T17" fmla="*/ 157 h 512"/>
                <a:gd name="T18" fmla="*/ 317 w 512"/>
                <a:gd name="T19" fmla="*/ 210 h 512"/>
                <a:gd name="T20" fmla="*/ 309 w 512"/>
                <a:gd name="T21" fmla="*/ 213 h 512"/>
                <a:gd name="T22" fmla="*/ 301 w 512"/>
                <a:gd name="T23" fmla="*/ 210 h 512"/>
                <a:gd name="T24" fmla="*/ 301 w 512"/>
                <a:gd name="T25" fmla="*/ 195 h 512"/>
                <a:gd name="T26" fmla="*/ 96 w 512"/>
                <a:gd name="T27" fmla="*/ 256 h 512"/>
                <a:gd name="T28" fmla="*/ 106 w 512"/>
                <a:gd name="T29" fmla="*/ 245 h 512"/>
                <a:gd name="T30" fmla="*/ 181 w 512"/>
                <a:gd name="T31" fmla="*/ 245 h 512"/>
                <a:gd name="T32" fmla="*/ 192 w 512"/>
                <a:gd name="T33" fmla="*/ 256 h 512"/>
                <a:gd name="T34" fmla="*/ 181 w 512"/>
                <a:gd name="T35" fmla="*/ 266 h 512"/>
                <a:gd name="T36" fmla="*/ 106 w 512"/>
                <a:gd name="T37" fmla="*/ 266 h 512"/>
                <a:gd name="T38" fmla="*/ 96 w 512"/>
                <a:gd name="T39" fmla="*/ 256 h 512"/>
                <a:gd name="T40" fmla="*/ 210 w 512"/>
                <a:gd name="T41" fmla="*/ 317 h 512"/>
                <a:gd name="T42" fmla="*/ 157 w 512"/>
                <a:gd name="T43" fmla="*/ 370 h 512"/>
                <a:gd name="T44" fmla="*/ 149 w 512"/>
                <a:gd name="T45" fmla="*/ 373 h 512"/>
                <a:gd name="T46" fmla="*/ 141 w 512"/>
                <a:gd name="T47" fmla="*/ 370 h 512"/>
                <a:gd name="T48" fmla="*/ 141 w 512"/>
                <a:gd name="T49" fmla="*/ 355 h 512"/>
                <a:gd name="T50" fmla="*/ 195 w 512"/>
                <a:gd name="T51" fmla="*/ 301 h 512"/>
                <a:gd name="T52" fmla="*/ 210 w 512"/>
                <a:gd name="T53" fmla="*/ 301 h 512"/>
                <a:gd name="T54" fmla="*/ 210 w 512"/>
                <a:gd name="T55" fmla="*/ 317 h 512"/>
                <a:gd name="T56" fmla="*/ 266 w 512"/>
                <a:gd name="T57" fmla="*/ 405 h 512"/>
                <a:gd name="T58" fmla="*/ 256 w 512"/>
                <a:gd name="T59" fmla="*/ 416 h 512"/>
                <a:gd name="T60" fmla="*/ 245 w 512"/>
                <a:gd name="T61" fmla="*/ 405 h 512"/>
                <a:gd name="T62" fmla="*/ 245 w 512"/>
                <a:gd name="T63" fmla="*/ 330 h 512"/>
                <a:gd name="T64" fmla="*/ 256 w 512"/>
                <a:gd name="T65" fmla="*/ 320 h 512"/>
                <a:gd name="T66" fmla="*/ 266 w 512"/>
                <a:gd name="T67" fmla="*/ 330 h 512"/>
                <a:gd name="T68" fmla="*/ 266 w 512"/>
                <a:gd name="T69" fmla="*/ 405 h 512"/>
                <a:gd name="T70" fmla="*/ 266 w 512"/>
                <a:gd name="T71" fmla="*/ 181 h 512"/>
                <a:gd name="T72" fmla="*/ 256 w 512"/>
                <a:gd name="T73" fmla="*/ 192 h 512"/>
                <a:gd name="T74" fmla="*/ 245 w 512"/>
                <a:gd name="T75" fmla="*/ 181 h 512"/>
                <a:gd name="T76" fmla="*/ 245 w 512"/>
                <a:gd name="T77" fmla="*/ 106 h 512"/>
                <a:gd name="T78" fmla="*/ 256 w 512"/>
                <a:gd name="T79" fmla="*/ 96 h 512"/>
                <a:gd name="T80" fmla="*/ 266 w 512"/>
                <a:gd name="T81" fmla="*/ 106 h 512"/>
                <a:gd name="T82" fmla="*/ 266 w 512"/>
                <a:gd name="T83" fmla="*/ 181 h 512"/>
                <a:gd name="T84" fmla="*/ 370 w 512"/>
                <a:gd name="T85" fmla="*/ 370 h 512"/>
                <a:gd name="T86" fmla="*/ 362 w 512"/>
                <a:gd name="T87" fmla="*/ 373 h 512"/>
                <a:gd name="T88" fmla="*/ 355 w 512"/>
                <a:gd name="T89" fmla="*/ 370 h 512"/>
                <a:gd name="T90" fmla="*/ 301 w 512"/>
                <a:gd name="T91" fmla="*/ 317 h 512"/>
                <a:gd name="T92" fmla="*/ 301 w 512"/>
                <a:gd name="T93" fmla="*/ 301 h 512"/>
                <a:gd name="T94" fmla="*/ 317 w 512"/>
                <a:gd name="T95" fmla="*/ 301 h 512"/>
                <a:gd name="T96" fmla="*/ 370 w 512"/>
                <a:gd name="T97" fmla="*/ 355 h 512"/>
                <a:gd name="T98" fmla="*/ 370 w 512"/>
                <a:gd name="T99" fmla="*/ 370 h 512"/>
                <a:gd name="T100" fmla="*/ 405 w 512"/>
                <a:gd name="T101" fmla="*/ 266 h 512"/>
                <a:gd name="T102" fmla="*/ 330 w 512"/>
                <a:gd name="T103" fmla="*/ 266 h 512"/>
                <a:gd name="T104" fmla="*/ 320 w 512"/>
                <a:gd name="T105" fmla="*/ 256 h 512"/>
                <a:gd name="T106" fmla="*/ 330 w 512"/>
                <a:gd name="T107" fmla="*/ 245 h 512"/>
                <a:gd name="T108" fmla="*/ 405 w 512"/>
                <a:gd name="T109" fmla="*/ 245 h 512"/>
                <a:gd name="T110" fmla="*/ 416 w 512"/>
                <a:gd name="T111" fmla="*/ 256 h 512"/>
                <a:gd name="T112" fmla="*/ 405 w 512"/>
                <a:gd name="T113" fmla="*/ 266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01" y="195"/>
                  </a:moveTo>
                  <a:cubicBezTo>
                    <a:pt x="355" y="141"/>
                    <a:pt x="355" y="141"/>
                    <a:pt x="355" y="141"/>
                  </a:cubicBezTo>
                  <a:cubicBezTo>
                    <a:pt x="359" y="137"/>
                    <a:pt x="366" y="137"/>
                    <a:pt x="370" y="141"/>
                  </a:cubicBezTo>
                  <a:cubicBezTo>
                    <a:pt x="374" y="146"/>
                    <a:pt x="374" y="152"/>
                    <a:pt x="370" y="157"/>
                  </a:cubicBezTo>
                  <a:cubicBezTo>
                    <a:pt x="317" y="210"/>
                    <a:pt x="317" y="210"/>
                    <a:pt x="317" y="210"/>
                  </a:cubicBezTo>
                  <a:cubicBezTo>
                    <a:pt x="314" y="212"/>
                    <a:pt x="312" y="213"/>
                    <a:pt x="309" y="213"/>
                  </a:cubicBezTo>
                  <a:cubicBezTo>
                    <a:pt x="306" y="213"/>
                    <a:pt x="304" y="212"/>
                    <a:pt x="301" y="210"/>
                  </a:cubicBezTo>
                  <a:cubicBezTo>
                    <a:pt x="297" y="206"/>
                    <a:pt x="297" y="199"/>
                    <a:pt x="301" y="195"/>
                  </a:cubicBezTo>
                  <a:close/>
                  <a:moveTo>
                    <a:pt x="96" y="256"/>
                  </a:moveTo>
                  <a:cubicBezTo>
                    <a:pt x="96" y="250"/>
                    <a:pt x="100" y="245"/>
                    <a:pt x="106" y="245"/>
                  </a:cubicBezTo>
                  <a:cubicBezTo>
                    <a:pt x="181" y="245"/>
                    <a:pt x="181" y="245"/>
                    <a:pt x="181" y="245"/>
                  </a:cubicBezTo>
                  <a:cubicBezTo>
                    <a:pt x="187" y="245"/>
                    <a:pt x="192" y="250"/>
                    <a:pt x="192" y="256"/>
                  </a:cubicBezTo>
                  <a:cubicBezTo>
                    <a:pt x="192" y="262"/>
                    <a:pt x="187" y="266"/>
                    <a:pt x="181" y="266"/>
                  </a:cubicBezTo>
                  <a:cubicBezTo>
                    <a:pt x="106" y="266"/>
                    <a:pt x="106" y="266"/>
                    <a:pt x="106" y="266"/>
                  </a:cubicBezTo>
                  <a:cubicBezTo>
                    <a:pt x="100" y="266"/>
                    <a:pt x="96" y="262"/>
                    <a:pt x="96" y="256"/>
                  </a:cubicBezTo>
                  <a:close/>
                  <a:moveTo>
                    <a:pt x="210" y="317"/>
                  </a:moveTo>
                  <a:cubicBezTo>
                    <a:pt x="157" y="370"/>
                    <a:pt x="157" y="370"/>
                    <a:pt x="157" y="370"/>
                  </a:cubicBezTo>
                  <a:cubicBezTo>
                    <a:pt x="154" y="372"/>
                    <a:pt x="152" y="373"/>
                    <a:pt x="149" y="373"/>
                  </a:cubicBezTo>
                  <a:cubicBezTo>
                    <a:pt x="146" y="373"/>
                    <a:pt x="144" y="372"/>
                    <a:pt x="141" y="370"/>
                  </a:cubicBezTo>
                  <a:cubicBezTo>
                    <a:pt x="137" y="366"/>
                    <a:pt x="137" y="359"/>
                    <a:pt x="141" y="355"/>
                  </a:cubicBezTo>
                  <a:cubicBezTo>
                    <a:pt x="195" y="301"/>
                    <a:pt x="195" y="301"/>
                    <a:pt x="195" y="301"/>
                  </a:cubicBezTo>
                  <a:cubicBezTo>
                    <a:pt x="199" y="297"/>
                    <a:pt x="206" y="297"/>
                    <a:pt x="210" y="301"/>
                  </a:cubicBezTo>
                  <a:cubicBezTo>
                    <a:pt x="214" y="306"/>
                    <a:pt x="214" y="312"/>
                    <a:pt x="210" y="317"/>
                  </a:cubicBezTo>
                  <a:close/>
                  <a:moveTo>
                    <a:pt x="266" y="405"/>
                  </a:moveTo>
                  <a:cubicBezTo>
                    <a:pt x="266" y="411"/>
                    <a:pt x="262" y="416"/>
                    <a:pt x="256" y="416"/>
                  </a:cubicBezTo>
                  <a:cubicBezTo>
                    <a:pt x="250" y="416"/>
                    <a:pt x="245" y="411"/>
                    <a:pt x="245" y="405"/>
                  </a:cubicBezTo>
                  <a:cubicBezTo>
                    <a:pt x="245" y="330"/>
                    <a:pt x="245" y="330"/>
                    <a:pt x="245" y="330"/>
                  </a:cubicBezTo>
                  <a:cubicBezTo>
                    <a:pt x="245" y="324"/>
                    <a:pt x="250" y="320"/>
                    <a:pt x="256" y="320"/>
                  </a:cubicBezTo>
                  <a:cubicBezTo>
                    <a:pt x="262" y="320"/>
                    <a:pt x="266" y="324"/>
                    <a:pt x="266" y="330"/>
                  </a:cubicBezTo>
                  <a:lnTo>
                    <a:pt x="266" y="405"/>
                  </a:lnTo>
                  <a:close/>
                  <a:moveTo>
                    <a:pt x="266" y="181"/>
                  </a:moveTo>
                  <a:cubicBezTo>
                    <a:pt x="266" y="187"/>
                    <a:pt x="262" y="192"/>
                    <a:pt x="256" y="192"/>
                  </a:cubicBezTo>
                  <a:cubicBezTo>
                    <a:pt x="250" y="192"/>
                    <a:pt x="245" y="187"/>
                    <a:pt x="245" y="181"/>
                  </a:cubicBezTo>
                  <a:cubicBezTo>
                    <a:pt x="245" y="106"/>
                    <a:pt x="245" y="106"/>
                    <a:pt x="245" y="106"/>
                  </a:cubicBezTo>
                  <a:cubicBezTo>
                    <a:pt x="245" y="100"/>
                    <a:pt x="250" y="96"/>
                    <a:pt x="256" y="96"/>
                  </a:cubicBezTo>
                  <a:cubicBezTo>
                    <a:pt x="262" y="96"/>
                    <a:pt x="266" y="100"/>
                    <a:pt x="266" y="106"/>
                  </a:cubicBezTo>
                  <a:lnTo>
                    <a:pt x="266" y="181"/>
                  </a:lnTo>
                  <a:close/>
                  <a:moveTo>
                    <a:pt x="370" y="370"/>
                  </a:moveTo>
                  <a:cubicBezTo>
                    <a:pt x="368" y="372"/>
                    <a:pt x="365" y="373"/>
                    <a:pt x="362" y="373"/>
                  </a:cubicBezTo>
                  <a:cubicBezTo>
                    <a:pt x="360" y="373"/>
                    <a:pt x="357" y="372"/>
                    <a:pt x="355" y="370"/>
                  </a:cubicBezTo>
                  <a:cubicBezTo>
                    <a:pt x="301" y="317"/>
                    <a:pt x="301" y="317"/>
                    <a:pt x="301" y="317"/>
                  </a:cubicBezTo>
                  <a:cubicBezTo>
                    <a:pt x="297" y="312"/>
                    <a:pt x="297" y="306"/>
                    <a:pt x="301" y="301"/>
                  </a:cubicBezTo>
                  <a:cubicBezTo>
                    <a:pt x="306" y="297"/>
                    <a:pt x="312" y="297"/>
                    <a:pt x="317" y="301"/>
                  </a:cubicBezTo>
                  <a:cubicBezTo>
                    <a:pt x="370" y="355"/>
                    <a:pt x="370" y="355"/>
                    <a:pt x="370" y="355"/>
                  </a:cubicBezTo>
                  <a:cubicBezTo>
                    <a:pt x="374" y="359"/>
                    <a:pt x="374" y="366"/>
                    <a:pt x="370" y="370"/>
                  </a:cubicBezTo>
                  <a:close/>
                  <a:moveTo>
                    <a:pt x="405" y="266"/>
                  </a:moveTo>
                  <a:cubicBezTo>
                    <a:pt x="330" y="266"/>
                    <a:pt x="330" y="266"/>
                    <a:pt x="330" y="266"/>
                  </a:cubicBezTo>
                  <a:cubicBezTo>
                    <a:pt x="324" y="266"/>
                    <a:pt x="320" y="262"/>
                    <a:pt x="320" y="256"/>
                  </a:cubicBezTo>
                  <a:cubicBezTo>
                    <a:pt x="320" y="250"/>
                    <a:pt x="324" y="245"/>
                    <a:pt x="330" y="245"/>
                  </a:cubicBezTo>
                  <a:cubicBezTo>
                    <a:pt x="405" y="245"/>
                    <a:pt x="405" y="245"/>
                    <a:pt x="405" y="245"/>
                  </a:cubicBezTo>
                  <a:cubicBezTo>
                    <a:pt x="411" y="245"/>
                    <a:pt x="416" y="250"/>
                    <a:pt x="416" y="256"/>
                  </a:cubicBezTo>
                  <a:cubicBezTo>
                    <a:pt x="416" y="262"/>
                    <a:pt x="411" y="266"/>
                    <a:pt x="405" y="26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64645">
                <a:defRPr/>
              </a:pPr>
              <a:endParaRPr lang="en-US" sz="1200" dirty="0">
                <a:solidFill>
                  <a:prstClr val="black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659063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Google Shape;597;g5c8d4edbeb_0_2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8" name="Google Shape;598;g5c8d4edbeb_0_2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869816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497496" y="3975908"/>
            <a:ext cx="5658678" cy="549249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188695" y="4656721"/>
            <a:ext cx="1147455" cy="667522"/>
            <a:chOff x="136363" y="6047620"/>
            <a:chExt cx="1099644" cy="646331"/>
          </a:xfrm>
        </p:grpSpPr>
        <p:sp>
          <p:nvSpPr>
            <p:cNvPr id="6" name="TextBox 5"/>
            <p:cNvSpPr txBox="1"/>
            <p:nvPr/>
          </p:nvSpPr>
          <p:spPr>
            <a:xfrm>
              <a:off x="136363" y="6047620"/>
              <a:ext cx="1099644" cy="646331"/>
            </a:xfrm>
            <a:prstGeom prst="rect">
              <a:avLst/>
            </a:prstGeom>
            <a:solidFill>
              <a:srgbClr val="92D050"/>
            </a:solidFill>
          </p:spPr>
          <p:txBody>
            <a:bodyPr wrap="square" rtlCol="0" anchor="ctr">
              <a:spAutoFit/>
            </a:bodyPr>
            <a:lstStyle/>
            <a:p>
              <a:pPr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 defTabSz="1264645">
                <a:defRPr/>
              </a:pPr>
              <a:r>
                <a:rPr lang="en-US" sz="9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iscuss</a:t>
              </a:r>
            </a:p>
          </p:txBody>
        </p:sp>
        <p:sp>
          <p:nvSpPr>
            <p:cNvPr id="7" name="Freeform 430"/>
            <p:cNvSpPr>
              <a:spLocks noChangeAspect="1" noEditPoints="1"/>
            </p:cNvSpPr>
            <p:nvPr/>
          </p:nvSpPr>
          <p:spPr bwMode="auto">
            <a:xfrm>
              <a:off x="493739" y="6116870"/>
              <a:ext cx="376296" cy="344890"/>
            </a:xfrm>
            <a:custGeom>
              <a:avLst/>
              <a:gdLst>
                <a:gd name="T0" fmla="*/ 235 w 512"/>
                <a:gd name="T1" fmla="*/ 139 h 512"/>
                <a:gd name="T2" fmla="*/ 256 w 512"/>
                <a:gd name="T3" fmla="*/ 118 h 512"/>
                <a:gd name="T4" fmla="*/ 277 w 512"/>
                <a:gd name="T5" fmla="*/ 139 h 512"/>
                <a:gd name="T6" fmla="*/ 256 w 512"/>
                <a:gd name="T7" fmla="*/ 160 h 512"/>
                <a:gd name="T8" fmla="*/ 235 w 512"/>
                <a:gd name="T9" fmla="*/ 139 h 512"/>
                <a:gd name="T10" fmla="*/ 267 w 512"/>
                <a:gd name="T11" fmla="*/ 363 h 512"/>
                <a:gd name="T12" fmla="*/ 267 w 512"/>
                <a:gd name="T13" fmla="*/ 224 h 512"/>
                <a:gd name="T14" fmla="*/ 213 w 512"/>
                <a:gd name="T15" fmla="*/ 224 h 512"/>
                <a:gd name="T16" fmla="*/ 213 w 512"/>
                <a:gd name="T17" fmla="*/ 246 h 512"/>
                <a:gd name="T18" fmla="*/ 235 w 512"/>
                <a:gd name="T19" fmla="*/ 246 h 512"/>
                <a:gd name="T20" fmla="*/ 245 w 512"/>
                <a:gd name="T21" fmla="*/ 256 h 512"/>
                <a:gd name="T22" fmla="*/ 245 w 512"/>
                <a:gd name="T23" fmla="*/ 363 h 512"/>
                <a:gd name="T24" fmla="*/ 235 w 512"/>
                <a:gd name="T25" fmla="*/ 374 h 512"/>
                <a:gd name="T26" fmla="*/ 203 w 512"/>
                <a:gd name="T27" fmla="*/ 374 h 512"/>
                <a:gd name="T28" fmla="*/ 203 w 512"/>
                <a:gd name="T29" fmla="*/ 395 h 512"/>
                <a:gd name="T30" fmla="*/ 309 w 512"/>
                <a:gd name="T31" fmla="*/ 395 h 512"/>
                <a:gd name="T32" fmla="*/ 309 w 512"/>
                <a:gd name="T33" fmla="*/ 374 h 512"/>
                <a:gd name="T34" fmla="*/ 277 w 512"/>
                <a:gd name="T35" fmla="*/ 374 h 512"/>
                <a:gd name="T36" fmla="*/ 267 w 512"/>
                <a:gd name="T37" fmla="*/ 363 h 512"/>
                <a:gd name="T38" fmla="*/ 512 w 512"/>
                <a:gd name="T39" fmla="*/ 256 h 512"/>
                <a:gd name="T40" fmla="*/ 256 w 512"/>
                <a:gd name="T41" fmla="*/ 512 h 512"/>
                <a:gd name="T42" fmla="*/ 0 w 512"/>
                <a:gd name="T43" fmla="*/ 256 h 512"/>
                <a:gd name="T44" fmla="*/ 256 w 512"/>
                <a:gd name="T45" fmla="*/ 0 h 512"/>
                <a:gd name="T46" fmla="*/ 512 w 512"/>
                <a:gd name="T47" fmla="*/ 256 h 512"/>
                <a:gd name="T48" fmla="*/ 213 w 512"/>
                <a:gd name="T49" fmla="*/ 139 h 512"/>
                <a:gd name="T50" fmla="*/ 256 w 512"/>
                <a:gd name="T51" fmla="*/ 182 h 512"/>
                <a:gd name="T52" fmla="*/ 299 w 512"/>
                <a:gd name="T53" fmla="*/ 139 h 512"/>
                <a:gd name="T54" fmla="*/ 256 w 512"/>
                <a:gd name="T55" fmla="*/ 96 h 512"/>
                <a:gd name="T56" fmla="*/ 213 w 512"/>
                <a:gd name="T57" fmla="*/ 139 h 512"/>
                <a:gd name="T58" fmla="*/ 331 w 512"/>
                <a:gd name="T59" fmla="*/ 363 h 512"/>
                <a:gd name="T60" fmla="*/ 320 w 512"/>
                <a:gd name="T61" fmla="*/ 352 h 512"/>
                <a:gd name="T62" fmla="*/ 288 w 512"/>
                <a:gd name="T63" fmla="*/ 352 h 512"/>
                <a:gd name="T64" fmla="*/ 288 w 512"/>
                <a:gd name="T65" fmla="*/ 214 h 512"/>
                <a:gd name="T66" fmla="*/ 277 w 512"/>
                <a:gd name="T67" fmla="*/ 203 h 512"/>
                <a:gd name="T68" fmla="*/ 203 w 512"/>
                <a:gd name="T69" fmla="*/ 203 h 512"/>
                <a:gd name="T70" fmla="*/ 192 w 512"/>
                <a:gd name="T71" fmla="*/ 214 h 512"/>
                <a:gd name="T72" fmla="*/ 192 w 512"/>
                <a:gd name="T73" fmla="*/ 256 h 512"/>
                <a:gd name="T74" fmla="*/ 203 w 512"/>
                <a:gd name="T75" fmla="*/ 267 h 512"/>
                <a:gd name="T76" fmla="*/ 224 w 512"/>
                <a:gd name="T77" fmla="*/ 267 h 512"/>
                <a:gd name="T78" fmla="*/ 224 w 512"/>
                <a:gd name="T79" fmla="*/ 352 h 512"/>
                <a:gd name="T80" fmla="*/ 192 w 512"/>
                <a:gd name="T81" fmla="*/ 352 h 512"/>
                <a:gd name="T82" fmla="*/ 181 w 512"/>
                <a:gd name="T83" fmla="*/ 363 h 512"/>
                <a:gd name="T84" fmla="*/ 181 w 512"/>
                <a:gd name="T85" fmla="*/ 406 h 512"/>
                <a:gd name="T86" fmla="*/ 192 w 512"/>
                <a:gd name="T87" fmla="*/ 416 h 512"/>
                <a:gd name="T88" fmla="*/ 320 w 512"/>
                <a:gd name="T89" fmla="*/ 416 h 512"/>
                <a:gd name="T90" fmla="*/ 331 w 512"/>
                <a:gd name="T91" fmla="*/ 406 h 512"/>
                <a:gd name="T92" fmla="*/ 331 w 512"/>
                <a:gd name="T93" fmla="*/ 36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12" h="512">
                  <a:moveTo>
                    <a:pt x="235" y="139"/>
                  </a:moveTo>
                  <a:cubicBezTo>
                    <a:pt x="235" y="127"/>
                    <a:pt x="244" y="118"/>
                    <a:pt x="256" y="118"/>
                  </a:cubicBezTo>
                  <a:cubicBezTo>
                    <a:pt x="268" y="118"/>
                    <a:pt x="277" y="127"/>
                    <a:pt x="277" y="139"/>
                  </a:cubicBezTo>
                  <a:cubicBezTo>
                    <a:pt x="277" y="151"/>
                    <a:pt x="268" y="160"/>
                    <a:pt x="256" y="160"/>
                  </a:cubicBezTo>
                  <a:cubicBezTo>
                    <a:pt x="244" y="160"/>
                    <a:pt x="235" y="151"/>
                    <a:pt x="235" y="139"/>
                  </a:cubicBezTo>
                  <a:close/>
                  <a:moveTo>
                    <a:pt x="267" y="363"/>
                  </a:moveTo>
                  <a:cubicBezTo>
                    <a:pt x="267" y="224"/>
                    <a:pt x="267" y="224"/>
                    <a:pt x="267" y="224"/>
                  </a:cubicBezTo>
                  <a:cubicBezTo>
                    <a:pt x="213" y="224"/>
                    <a:pt x="213" y="224"/>
                    <a:pt x="213" y="224"/>
                  </a:cubicBezTo>
                  <a:cubicBezTo>
                    <a:pt x="213" y="246"/>
                    <a:pt x="213" y="246"/>
                    <a:pt x="213" y="246"/>
                  </a:cubicBezTo>
                  <a:cubicBezTo>
                    <a:pt x="235" y="246"/>
                    <a:pt x="235" y="246"/>
                    <a:pt x="235" y="246"/>
                  </a:cubicBezTo>
                  <a:cubicBezTo>
                    <a:pt x="241" y="246"/>
                    <a:pt x="245" y="250"/>
                    <a:pt x="245" y="256"/>
                  </a:cubicBezTo>
                  <a:cubicBezTo>
                    <a:pt x="245" y="363"/>
                    <a:pt x="245" y="363"/>
                    <a:pt x="245" y="363"/>
                  </a:cubicBezTo>
                  <a:cubicBezTo>
                    <a:pt x="245" y="369"/>
                    <a:pt x="241" y="374"/>
                    <a:pt x="235" y="374"/>
                  </a:cubicBezTo>
                  <a:cubicBezTo>
                    <a:pt x="203" y="374"/>
                    <a:pt x="203" y="374"/>
                    <a:pt x="203" y="374"/>
                  </a:cubicBezTo>
                  <a:cubicBezTo>
                    <a:pt x="203" y="395"/>
                    <a:pt x="203" y="395"/>
                    <a:pt x="203" y="395"/>
                  </a:cubicBezTo>
                  <a:cubicBezTo>
                    <a:pt x="309" y="395"/>
                    <a:pt x="309" y="395"/>
                    <a:pt x="309" y="395"/>
                  </a:cubicBezTo>
                  <a:cubicBezTo>
                    <a:pt x="309" y="374"/>
                    <a:pt x="309" y="374"/>
                    <a:pt x="309" y="374"/>
                  </a:cubicBezTo>
                  <a:cubicBezTo>
                    <a:pt x="277" y="374"/>
                    <a:pt x="277" y="374"/>
                    <a:pt x="277" y="374"/>
                  </a:cubicBezTo>
                  <a:cubicBezTo>
                    <a:pt x="271" y="374"/>
                    <a:pt x="267" y="369"/>
                    <a:pt x="267" y="363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213" y="139"/>
                  </a:moveTo>
                  <a:cubicBezTo>
                    <a:pt x="213" y="163"/>
                    <a:pt x="232" y="182"/>
                    <a:pt x="256" y="182"/>
                  </a:cubicBezTo>
                  <a:cubicBezTo>
                    <a:pt x="280" y="182"/>
                    <a:pt x="299" y="163"/>
                    <a:pt x="299" y="139"/>
                  </a:cubicBezTo>
                  <a:cubicBezTo>
                    <a:pt x="299" y="115"/>
                    <a:pt x="280" y="96"/>
                    <a:pt x="256" y="96"/>
                  </a:cubicBezTo>
                  <a:cubicBezTo>
                    <a:pt x="232" y="96"/>
                    <a:pt x="213" y="115"/>
                    <a:pt x="213" y="139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288" y="352"/>
                    <a:pt x="288" y="352"/>
                    <a:pt x="288" y="352"/>
                  </a:cubicBezTo>
                  <a:cubicBezTo>
                    <a:pt x="288" y="214"/>
                    <a:pt x="288" y="214"/>
                    <a:pt x="288" y="214"/>
                  </a:cubicBezTo>
                  <a:cubicBezTo>
                    <a:pt x="288" y="208"/>
                    <a:pt x="283" y="203"/>
                    <a:pt x="277" y="203"/>
                  </a:cubicBezTo>
                  <a:cubicBezTo>
                    <a:pt x="203" y="203"/>
                    <a:pt x="203" y="203"/>
                    <a:pt x="203" y="203"/>
                  </a:cubicBezTo>
                  <a:cubicBezTo>
                    <a:pt x="197" y="203"/>
                    <a:pt x="192" y="208"/>
                    <a:pt x="192" y="214"/>
                  </a:cubicBezTo>
                  <a:cubicBezTo>
                    <a:pt x="192" y="256"/>
                    <a:pt x="192" y="256"/>
                    <a:pt x="192" y="256"/>
                  </a:cubicBezTo>
                  <a:cubicBezTo>
                    <a:pt x="192" y="262"/>
                    <a:pt x="197" y="267"/>
                    <a:pt x="203" y="267"/>
                  </a:cubicBezTo>
                  <a:cubicBezTo>
                    <a:pt x="224" y="267"/>
                    <a:pt x="224" y="267"/>
                    <a:pt x="224" y="267"/>
                  </a:cubicBezTo>
                  <a:cubicBezTo>
                    <a:pt x="224" y="352"/>
                    <a:pt x="224" y="352"/>
                    <a:pt x="224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406"/>
                    <a:pt x="181" y="406"/>
                    <a:pt x="181" y="406"/>
                  </a:cubicBezTo>
                  <a:cubicBezTo>
                    <a:pt x="181" y="412"/>
                    <a:pt x="186" y="416"/>
                    <a:pt x="192" y="416"/>
                  </a:cubicBezTo>
                  <a:cubicBezTo>
                    <a:pt x="320" y="416"/>
                    <a:pt x="320" y="416"/>
                    <a:pt x="320" y="416"/>
                  </a:cubicBezTo>
                  <a:cubicBezTo>
                    <a:pt x="326" y="416"/>
                    <a:pt x="331" y="412"/>
                    <a:pt x="331" y="406"/>
                  </a:cubicBezTo>
                  <a:lnTo>
                    <a:pt x="331" y="36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64645">
                <a:defRPr/>
              </a:pPr>
              <a:endParaRPr lang="en-US" sz="12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0" name="Slide Image Placeholder 9"/>
          <p:cNvSpPr>
            <a:spLocks noGrp="1" noRot="1" noChangeAspect="1"/>
          </p:cNvSpPr>
          <p:nvPr>
            <p:ph type="sldImg"/>
          </p:nvPr>
        </p:nvSpPr>
        <p:spPr>
          <a:xfrm>
            <a:off x="1844675" y="765175"/>
            <a:ext cx="4735513" cy="2663825"/>
          </a:xfrm>
        </p:spPr>
      </p:sp>
      <p:sp>
        <p:nvSpPr>
          <p:cNvPr id="8" name="TextBox 7"/>
          <p:cNvSpPr txBox="1"/>
          <p:nvPr/>
        </p:nvSpPr>
        <p:spPr>
          <a:xfrm>
            <a:off x="188695" y="2078842"/>
            <a:ext cx="1147456" cy="434330"/>
          </a:xfrm>
          <a:prstGeom prst="rect">
            <a:avLst/>
          </a:prstGeom>
          <a:solidFill>
            <a:srgbClr val="92D050"/>
          </a:solidFill>
        </p:spPr>
        <p:txBody>
          <a:bodyPr wrap="square" lIns="94851" tIns="47425" rIns="94851" bIns="47425" rtlCol="0" anchor="b">
            <a:spAutoFit/>
          </a:bodyPr>
          <a:lstStyle/>
          <a:p>
            <a:pPr algn="ctr" defTabSz="1264645">
              <a:defRPr/>
            </a:pPr>
            <a:r>
              <a:rPr lang="en-US" sz="11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ule 1 –</a:t>
            </a:r>
            <a:r>
              <a:rPr lang="en-US" sz="1100" b="1" spc="-93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hat is Agile?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184210" y="5692220"/>
            <a:ext cx="1147455" cy="667522"/>
            <a:chOff x="176535" y="6142940"/>
            <a:chExt cx="1099644" cy="646331"/>
          </a:xfrm>
        </p:grpSpPr>
        <p:sp>
          <p:nvSpPr>
            <p:cNvPr id="12" name="TextBox 11"/>
            <p:cNvSpPr txBox="1"/>
            <p:nvPr/>
          </p:nvSpPr>
          <p:spPr>
            <a:xfrm>
              <a:off x="176535" y="6142940"/>
              <a:ext cx="1099644" cy="646331"/>
            </a:xfrm>
            <a:prstGeom prst="rect">
              <a:avLst/>
            </a:prstGeom>
            <a:solidFill>
              <a:srgbClr val="92D050"/>
            </a:solidFill>
          </p:spPr>
          <p:txBody>
            <a:bodyPr wrap="square" rtlCol="0" anchor="ctr">
              <a:spAutoFit/>
            </a:bodyPr>
            <a:lstStyle/>
            <a:p>
              <a:pPr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 defTabSz="1264645">
                <a:defRPr/>
              </a:pPr>
              <a:r>
                <a:rPr lang="en-US" sz="9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nimated Slide</a:t>
              </a:r>
            </a:p>
          </p:txBody>
        </p:sp>
        <p:sp>
          <p:nvSpPr>
            <p:cNvPr id="13" name="Freeform 696"/>
            <p:cNvSpPr>
              <a:spLocks noChangeAspect="1" noEditPoints="1"/>
            </p:cNvSpPr>
            <p:nvPr/>
          </p:nvSpPr>
          <p:spPr bwMode="auto">
            <a:xfrm>
              <a:off x="514406" y="6213729"/>
              <a:ext cx="377799" cy="347472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01 w 512"/>
                <a:gd name="T11" fmla="*/ 195 h 512"/>
                <a:gd name="T12" fmla="*/ 355 w 512"/>
                <a:gd name="T13" fmla="*/ 141 h 512"/>
                <a:gd name="T14" fmla="*/ 370 w 512"/>
                <a:gd name="T15" fmla="*/ 141 h 512"/>
                <a:gd name="T16" fmla="*/ 370 w 512"/>
                <a:gd name="T17" fmla="*/ 157 h 512"/>
                <a:gd name="T18" fmla="*/ 317 w 512"/>
                <a:gd name="T19" fmla="*/ 210 h 512"/>
                <a:gd name="T20" fmla="*/ 309 w 512"/>
                <a:gd name="T21" fmla="*/ 213 h 512"/>
                <a:gd name="T22" fmla="*/ 301 w 512"/>
                <a:gd name="T23" fmla="*/ 210 h 512"/>
                <a:gd name="T24" fmla="*/ 301 w 512"/>
                <a:gd name="T25" fmla="*/ 195 h 512"/>
                <a:gd name="T26" fmla="*/ 96 w 512"/>
                <a:gd name="T27" fmla="*/ 256 h 512"/>
                <a:gd name="T28" fmla="*/ 106 w 512"/>
                <a:gd name="T29" fmla="*/ 245 h 512"/>
                <a:gd name="T30" fmla="*/ 181 w 512"/>
                <a:gd name="T31" fmla="*/ 245 h 512"/>
                <a:gd name="T32" fmla="*/ 192 w 512"/>
                <a:gd name="T33" fmla="*/ 256 h 512"/>
                <a:gd name="T34" fmla="*/ 181 w 512"/>
                <a:gd name="T35" fmla="*/ 266 h 512"/>
                <a:gd name="T36" fmla="*/ 106 w 512"/>
                <a:gd name="T37" fmla="*/ 266 h 512"/>
                <a:gd name="T38" fmla="*/ 96 w 512"/>
                <a:gd name="T39" fmla="*/ 256 h 512"/>
                <a:gd name="T40" fmla="*/ 210 w 512"/>
                <a:gd name="T41" fmla="*/ 317 h 512"/>
                <a:gd name="T42" fmla="*/ 157 w 512"/>
                <a:gd name="T43" fmla="*/ 370 h 512"/>
                <a:gd name="T44" fmla="*/ 149 w 512"/>
                <a:gd name="T45" fmla="*/ 373 h 512"/>
                <a:gd name="T46" fmla="*/ 141 w 512"/>
                <a:gd name="T47" fmla="*/ 370 h 512"/>
                <a:gd name="T48" fmla="*/ 141 w 512"/>
                <a:gd name="T49" fmla="*/ 355 h 512"/>
                <a:gd name="T50" fmla="*/ 195 w 512"/>
                <a:gd name="T51" fmla="*/ 301 h 512"/>
                <a:gd name="T52" fmla="*/ 210 w 512"/>
                <a:gd name="T53" fmla="*/ 301 h 512"/>
                <a:gd name="T54" fmla="*/ 210 w 512"/>
                <a:gd name="T55" fmla="*/ 317 h 512"/>
                <a:gd name="T56" fmla="*/ 266 w 512"/>
                <a:gd name="T57" fmla="*/ 405 h 512"/>
                <a:gd name="T58" fmla="*/ 256 w 512"/>
                <a:gd name="T59" fmla="*/ 416 h 512"/>
                <a:gd name="T60" fmla="*/ 245 w 512"/>
                <a:gd name="T61" fmla="*/ 405 h 512"/>
                <a:gd name="T62" fmla="*/ 245 w 512"/>
                <a:gd name="T63" fmla="*/ 330 h 512"/>
                <a:gd name="T64" fmla="*/ 256 w 512"/>
                <a:gd name="T65" fmla="*/ 320 h 512"/>
                <a:gd name="T66" fmla="*/ 266 w 512"/>
                <a:gd name="T67" fmla="*/ 330 h 512"/>
                <a:gd name="T68" fmla="*/ 266 w 512"/>
                <a:gd name="T69" fmla="*/ 405 h 512"/>
                <a:gd name="T70" fmla="*/ 266 w 512"/>
                <a:gd name="T71" fmla="*/ 181 h 512"/>
                <a:gd name="T72" fmla="*/ 256 w 512"/>
                <a:gd name="T73" fmla="*/ 192 h 512"/>
                <a:gd name="T74" fmla="*/ 245 w 512"/>
                <a:gd name="T75" fmla="*/ 181 h 512"/>
                <a:gd name="T76" fmla="*/ 245 w 512"/>
                <a:gd name="T77" fmla="*/ 106 h 512"/>
                <a:gd name="T78" fmla="*/ 256 w 512"/>
                <a:gd name="T79" fmla="*/ 96 h 512"/>
                <a:gd name="T80" fmla="*/ 266 w 512"/>
                <a:gd name="T81" fmla="*/ 106 h 512"/>
                <a:gd name="T82" fmla="*/ 266 w 512"/>
                <a:gd name="T83" fmla="*/ 181 h 512"/>
                <a:gd name="T84" fmla="*/ 370 w 512"/>
                <a:gd name="T85" fmla="*/ 370 h 512"/>
                <a:gd name="T86" fmla="*/ 362 w 512"/>
                <a:gd name="T87" fmla="*/ 373 h 512"/>
                <a:gd name="T88" fmla="*/ 355 w 512"/>
                <a:gd name="T89" fmla="*/ 370 h 512"/>
                <a:gd name="T90" fmla="*/ 301 w 512"/>
                <a:gd name="T91" fmla="*/ 317 h 512"/>
                <a:gd name="T92" fmla="*/ 301 w 512"/>
                <a:gd name="T93" fmla="*/ 301 h 512"/>
                <a:gd name="T94" fmla="*/ 317 w 512"/>
                <a:gd name="T95" fmla="*/ 301 h 512"/>
                <a:gd name="T96" fmla="*/ 370 w 512"/>
                <a:gd name="T97" fmla="*/ 355 h 512"/>
                <a:gd name="T98" fmla="*/ 370 w 512"/>
                <a:gd name="T99" fmla="*/ 370 h 512"/>
                <a:gd name="T100" fmla="*/ 405 w 512"/>
                <a:gd name="T101" fmla="*/ 266 h 512"/>
                <a:gd name="T102" fmla="*/ 330 w 512"/>
                <a:gd name="T103" fmla="*/ 266 h 512"/>
                <a:gd name="T104" fmla="*/ 320 w 512"/>
                <a:gd name="T105" fmla="*/ 256 h 512"/>
                <a:gd name="T106" fmla="*/ 330 w 512"/>
                <a:gd name="T107" fmla="*/ 245 h 512"/>
                <a:gd name="T108" fmla="*/ 405 w 512"/>
                <a:gd name="T109" fmla="*/ 245 h 512"/>
                <a:gd name="T110" fmla="*/ 416 w 512"/>
                <a:gd name="T111" fmla="*/ 256 h 512"/>
                <a:gd name="T112" fmla="*/ 405 w 512"/>
                <a:gd name="T113" fmla="*/ 266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01" y="195"/>
                  </a:moveTo>
                  <a:cubicBezTo>
                    <a:pt x="355" y="141"/>
                    <a:pt x="355" y="141"/>
                    <a:pt x="355" y="141"/>
                  </a:cubicBezTo>
                  <a:cubicBezTo>
                    <a:pt x="359" y="137"/>
                    <a:pt x="366" y="137"/>
                    <a:pt x="370" y="141"/>
                  </a:cubicBezTo>
                  <a:cubicBezTo>
                    <a:pt x="374" y="146"/>
                    <a:pt x="374" y="152"/>
                    <a:pt x="370" y="157"/>
                  </a:cubicBezTo>
                  <a:cubicBezTo>
                    <a:pt x="317" y="210"/>
                    <a:pt x="317" y="210"/>
                    <a:pt x="317" y="210"/>
                  </a:cubicBezTo>
                  <a:cubicBezTo>
                    <a:pt x="314" y="212"/>
                    <a:pt x="312" y="213"/>
                    <a:pt x="309" y="213"/>
                  </a:cubicBezTo>
                  <a:cubicBezTo>
                    <a:pt x="306" y="213"/>
                    <a:pt x="304" y="212"/>
                    <a:pt x="301" y="210"/>
                  </a:cubicBezTo>
                  <a:cubicBezTo>
                    <a:pt x="297" y="206"/>
                    <a:pt x="297" y="199"/>
                    <a:pt x="301" y="195"/>
                  </a:cubicBezTo>
                  <a:close/>
                  <a:moveTo>
                    <a:pt x="96" y="256"/>
                  </a:moveTo>
                  <a:cubicBezTo>
                    <a:pt x="96" y="250"/>
                    <a:pt x="100" y="245"/>
                    <a:pt x="106" y="245"/>
                  </a:cubicBezTo>
                  <a:cubicBezTo>
                    <a:pt x="181" y="245"/>
                    <a:pt x="181" y="245"/>
                    <a:pt x="181" y="245"/>
                  </a:cubicBezTo>
                  <a:cubicBezTo>
                    <a:pt x="187" y="245"/>
                    <a:pt x="192" y="250"/>
                    <a:pt x="192" y="256"/>
                  </a:cubicBezTo>
                  <a:cubicBezTo>
                    <a:pt x="192" y="262"/>
                    <a:pt x="187" y="266"/>
                    <a:pt x="181" y="266"/>
                  </a:cubicBezTo>
                  <a:cubicBezTo>
                    <a:pt x="106" y="266"/>
                    <a:pt x="106" y="266"/>
                    <a:pt x="106" y="266"/>
                  </a:cubicBezTo>
                  <a:cubicBezTo>
                    <a:pt x="100" y="266"/>
                    <a:pt x="96" y="262"/>
                    <a:pt x="96" y="256"/>
                  </a:cubicBezTo>
                  <a:close/>
                  <a:moveTo>
                    <a:pt x="210" y="317"/>
                  </a:moveTo>
                  <a:cubicBezTo>
                    <a:pt x="157" y="370"/>
                    <a:pt x="157" y="370"/>
                    <a:pt x="157" y="370"/>
                  </a:cubicBezTo>
                  <a:cubicBezTo>
                    <a:pt x="154" y="372"/>
                    <a:pt x="152" y="373"/>
                    <a:pt x="149" y="373"/>
                  </a:cubicBezTo>
                  <a:cubicBezTo>
                    <a:pt x="146" y="373"/>
                    <a:pt x="144" y="372"/>
                    <a:pt x="141" y="370"/>
                  </a:cubicBezTo>
                  <a:cubicBezTo>
                    <a:pt x="137" y="366"/>
                    <a:pt x="137" y="359"/>
                    <a:pt x="141" y="355"/>
                  </a:cubicBezTo>
                  <a:cubicBezTo>
                    <a:pt x="195" y="301"/>
                    <a:pt x="195" y="301"/>
                    <a:pt x="195" y="301"/>
                  </a:cubicBezTo>
                  <a:cubicBezTo>
                    <a:pt x="199" y="297"/>
                    <a:pt x="206" y="297"/>
                    <a:pt x="210" y="301"/>
                  </a:cubicBezTo>
                  <a:cubicBezTo>
                    <a:pt x="214" y="306"/>
                    <a:pt x="214" y="312"/>
                    <a:pt x="210" y="317"/>
                  </a:cubicBezTo>
                  <a:close/>
                  <a:moveTo>
                    <a:pt x="266" y="405"/>
                  </a:moveTo>
                  <a:cubicBezTo>
                    <a:pt x="266" y="411"/>
                    <a:pt x="262" y="416"/>
                    <a:pt x="256" y="416"/>
                  </a:cubicBezTo>
                  <a:cubicBezTo>
                    <a:pt x="250" y="416"/>
                    <a:pt x="245" y="411"/>
                    <a:pt x="245" y="405"/>
                  </a:cubicBezTo>
                  <a:cubicBezTo>
                    <a:pt x="245" y="330"/>
                    <a:pt x="245" y="330"/>
                    <a:pt x="245" y="330"/>
                  </a:cubicBezTo>
                  <a:cubicBezTo>
                    <a:pt x="245" y="324"/>
                    <a:pt x="250" y="320"/>
                    <a:pt x="256" y="320"/>
                  </a:cubicBezTo>
                  <a:cubicBezTo>
                    <a:pt x="262" y="320"/>
                    <a:pt x="266" y="324"/>
                    <a:pt x="266" y="330"/>
                  </a:cubicBezTo>
                  <a:lnTo>
                    <a:pt x="266" y="405"/>
                  </a:lnTo>
                  <a:close/>
                  <a:moveTo>
                    <a:pt x="266" y="181"/>
                  </a:moveTo>
                  <a:cubicBezTo>
                    <a:pt x="266" y="187"/>
                    <a:pt x="262" y="192"/>
                    <a:pt x="256" y="192"/>
                  </a:cubicBezTo>
                  <a:cubicBezTo>
                    <a:pt x="250" y="192"/>
                    <a:pt x="245" y="187"/>
                    <a:pt x="245" y="181"/>
                  </a:cubicBezTo>
                  <a:cubicBezTo>
                    <a:pt x="245" y="106"/>
                    <a:pt x="245" y="106"/>
                    <a:pt x="245" y="106"/>
                  </a:cubicBezTo>
                  <a:cubicBezTo>
                    <a:pt x="245" y="100"/>
                    <a:pt x="250" y="96"/>
                    <a:pt x="256" y="96"/>
                  </a:cubicBezTo>
                  <a:cubicBezTo>
                    <a:pt x="262" y="96"/>
                    <a:pt x="266" y="100"/>
                    <a:pt x="266" y="106"/>
                  </a:cubicBezTo>
                  <a:lnTo>
                    <a:pt x="266" y="181"/>
                  </a:lnTo>
                  <a:close/>
                  <a:moveTo>
                    <a:pt x="370" y="370"/>
                  </a:moveTo>
                  <a:cubicBezTo>
                    <a:pt x="368" y="372"/>
                    <a:pt x="365" y="373"/>
                    <a:pt x="362" y="373"/>
                  </a:cubicBezTo>
                  <a:cubicBezTo>
                    <a:pt x="360" y="373"/>
                    <a:pt x="357" y="372"/>
                    <a:pt x="355" y="370"/>
                  </a:cubicBezTo>
                  <a:cubicBezTo>
                    <a:pt x="301" y="317"/>
                    <a:pt x="301" y="317"/>
                    <a:pt x="301" y="317"/>
                  </a:cubicBezTo>
                  <a:cubicBezTo>
                    <a:pt x="297" y="312"/>
                    <a:pt x="297" y="306"/>
                    <a:pt x="301" y="301"/>
                  </a:cubicBezTo>
                  <a:cubicBezTo>
                    <a:pt x="306" y="297"/>
                    <a:pt x="312" y="297"/>
                    <a:pt x="317" y="301"/>
                  </a:cubicBezTo>
                  <a:cubicBezTo>
                    <a:pt x="370" y="355"/>
                    <a:pt x="370" y="355"/>
                    <a:pt x="370" y="355"/>
                  </a:cubicBezTo>
                  <a:cubicBezTo>
                    <a:pt x="374" y="359"/>
                    <a:pt x="374" y="366"/>
                    <a:pt x="370" y="370"/>
                  </a:cubicBezTo>
                  <a:close/>
                  <a:moveTo>
                    <a:pt x="405" y="266"/>
                  </a:moveTo>
                  <a:cubicBezTo>
                    <a:pt x="330" y="266"/>
                    <a:pt x="330" y="266"/>
                    <a:pt x="330" y="266"/>
                  </a:cubicBezTo>
                  <a:cubicBezTo>
                    <a:pt x="324" y="266"/>
                    <a:pt x="320" y="262"/>
                    <a:pt x="320" y="256"/>
                  </a:cubicBezTo>
                  <a:cubicBezTo>
                    <a:pt x="320" y="250"/>
                    <a:pt x="324" y="245"/>
                    <a:pt x="330" y="245"/>
                  </a:cubicBezTo>
                  <a:cubicBezTo>
                    <a:pt x="405" y="245"/>
                    <a:pt x="405" y="245"/>
                    <a:pt x="405" y="245"/>
                  </a:cubicBezTo>
                  <a:cubicBezTo>
                    <a:pt x="411" y="245"/>
                    <a:pt x="416" y="250"/>
                    <a:pt x="416" y="256"/>
                  </a:cubicBezTo>
                  <a:cubicBezTo>
                    <a:pt x="416" y="262"/>
                    <a:pt x="411" y="266"/>
                    <a:pt x="405" y="26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64645">
                <a:defRPr/>
              </a:pPr>
              <a:endParaRPr lang="en-US" sz="1200" dirty="0">
                <a:solidFill>
                  <a:prstClr val="black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91583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510748" y="3966398"/>
            <a:ext cx="5613621" cy="5320008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 sz="1100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844675" y="765175"/>
            <a:ext cx="4735513" cy="2663825"/>
          </a:xfrm>
        </p:spPr>
      </p:sp>
      <p:sp>
        <p:nvSpPr>
          <p:cNvPr id="4" name="TextBox 3"/>
          <p:cNvSpPr txBox="1"/>
          <p:nvPr/>
        </p:nvSpPr>
        <p:spPr>
          <a:xfrm>
            <a:off x="188695" y="2078842"/>
            <a:ext cx="1147455" cy="434330"/>
          </a:xfrm>
          <a:prstGeom prst="rect">
            <a:avLst/>
          </a:prstGeom>
          <a:solidFill>
            <a:srgbClr val="92D050"/>
          </a:solidFill>
        </p:spPr>
        <p:txBody>
          <a:bodyPr wrap="square" lIns="94851" tIns="47425" rIns="94851" bIns="47425" rtlCol="0" anchor="b">
            <a:spAutoFit/>
          </a:bodyPr>
          <a:lstStyle/>
          <a:p>
            <a:pPr lvl="0" algn="ctr">
              <a:defRPr/>
            </a:pPr>
            <a:r>
              <a:rPr lang="en-US" sz="11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ule 1 –</a:t>
            </a:r>
            <a:r>
              <a:rPr lang="en-US" sz="1100" b="1" spc="-93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hat is Agile?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88695" y="4656721"/>
            <a:ext cx="1147455" cy="667522"/>
            <a:chOff x="136363" y="6047620"/>
            <a:chExt cx="1099644" cy="646331"/>
          </a:xfrm>
        </p:grpSpPr>
        <p:sp>
          <p:nvSpPr>
            <p:cNvPr id="7" name="TextBox 6"/>
            <p:cNvSpPr txBox="1"/>
            <p:nvPr/>
          </p:nvSpPr>
          <p:spPr>
            <a:xfrm>
              <a:off x="136363" y="6047620"/>
              <a:ext cx="1099644" cy="646331"/>
            </a:xfrm>
            <a:prstGeom prst="rect">
              <a:avLst/>
            </a:prstGeom>
            <a:solidFill>
              <a:srgbClr val="92D050"/>
            </a:solidFill>
          </p:spPr>
          <p:txBody>
            <a:bodyPr wrap="square" rtlCol="0" anchor="ctr">
              <a:spAutoFit/>
            </a:bodyPr>
            <a:lstStyle/>
            <a:p>
              <a:pPr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 defTabSz="1264645">
                <a:defRPr/>
              </a:pPr>
              <a:r>
                <a:rPr lang="en-US" sz="9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iscuss</a:t>
              </a:r>
            </a:p>
          </p:txBody>
        </p:sp>
        <p:sp>
          <p:nvSpPr>
            <p:cNvPr id="8" name="Freeform 430"/>
            <p:cNvSpPr>
              <a:spLocks noChangeAspect="1" noEditPoints="1"/>
            </p:cNvSpPr>
            <p:nvPr/>
          </p:nvSpPr>
          <p:spPr bwMode="auto">
            <a:xfrm>
              <a:off x="493739" y="6116870"/>
              <a:ext cx="376296" cy="344890"/>
            </a:xfrm>
            <a:custGeom>
              <a:avLst/>
              <a:gdLst>
                <a:gd name="T0" fmla="*/ 235 w 512"/>
                <a:gd name="T1" fmla="*/ 139 h 512"/>
                <a:gd name="T2" fmla="*/ 256 w 512"/>
                <a:gd name="T3" fmla="*/ 118 h 512"/>
                <a:gd name="T4" fmla="*/ 277 w 512"/>
                <a:gd name="T5" fmla="*/ 139 h 512"/>
                <a:gd name="T6" fmla="*/ 256 w 512"/>
                <a:gd name="T7" fmla="*/ 160 h 512"/>
                <a:gd name="T8" fmla="*/ 235 w 512"/>
                <a:gd name="T9" fmla="*/ 139 h 512"/>
                <a:gd name="T10" fmla="*/ 267 w 512"/>
                <a:gd name="T11" fmla="*/ 363 h 512"/>
                <a:gd name="T12" fmla="*/ 267 w 512"/>
                <a:gd name="T13" fmla="*/ 224 h 512"/>
                <a:gd name="T14" fmla="*/ 213 w 512"/>
                <a:gd name="T15" fmla="*/ 224 h 512"/>
                <a:gd name="T16" fmla="*/ 213 w 512"/>
                <a:gd name="T17" fmla="*/ 246 h 512"/>
                <a:gd name="T18" fmla="*/ 235 w 512"/>
                <a:gd name="T19" fmla="*/ 246 h 512"/>
                <a:gd name="T20" fmla="*/ 245 w 512"/>
                <a:gd name="T21" fmla="*/ 256 h 512"/>
                <a:gd name="T22" fmla="*/ 245 w 512"/>
                <a:gd name="T23" fmla="*/ 363 h 512"/>
                <a:gd name="T24" fmla="*/ 235 w 512"/>
                <a:gd name="T25" fmla="*/ 374 h 512"/>
                <a:gd name="T26" fmla="*/ 203 w 512"/>
                <a:gd name="T27" fmla="*/ 374 h 512"/>
                <a:gd name="T28" fmla="*/ 203 w 512"/>
                <a:gd name="T29" fmla="*/ 395 h 512"/>
                <a:gd name="T30" fmla="*/ 309 w 512"/>
                <a:gd name="T31" fmla="*/ 395 h 512"/>
                <a:gd name="T32" fmla="*/ 309 w 512"/>
                <a:gd name="T33" fmla="*/ 374 h 512"/>
                <a:gd name="T34" fmla="*/ 277 w 512"/>
                <a:gd name="T35" fmla="*/ 374 h 512"/>
                <a:gd name="T36" fmla="*/ 267 w 512"/>
                <a:gd name="T37" fmla="*/ 363 h 512"/>
                <a:gd name="T38" fmla="*/ 512 w 512"/>
                <a:gd name="T39" fmla="*/ 256 h 512"/>
                <a:gd name="T40" fmla="*/ 256 w 512"/>
                <a:gd name="T41" fmla="*/ 512 h 512"/>
                <a:gd name="T42" fmla="*/ 0 w 512"/>
                <a:gd name="T43" fmla="*/ 256 h 512"/>
                <a:gd name="T44" fmla="*/ 256 w 512"/>
                <a:gd name="T45" fmla="*/ 0 h 512"/>
                <a:gd name="T46" fmla="*/ 512 w 512"/>
                <a:gd name="T47" fmla="*/ 256 h 512"/>
                <a:gd name="T48" fmla="*/ 213 w 512"/>
                <a:gd name="T49" fmla="*/ 139 h 512"/>
                <a:gd name="T50" fmla="*/ 256 w 512"/>
                <a:gd name="T51" fmla="*/ 182 h 512"/>
                <a:gd name="T52" fmla="*/ 299 w 512"/>
                <a:gd name="T53" fmla="*/ 139 h 512"/>
                <a:gd name="T54" fmla="*/ 256 w 512"/>
                <a:gd name="T55" fmla="*/ 96 h 512"/>
                <a:gd name="T56" fmla="*/ 213 w 512"/>
                <a:gd name="T57" fmla="*/ 139 h 512"/>
                <a:gd name="T58" fmla="*/ 331 w 512"/>
                <a:gd name="T59" fmla="*/ 363 h 512"/>
                <a:gd name="T60" fmla="*/ 320 w 512"/>
                <a:gd name="T61" fmla="*/ 352 h 512"/>
                <a:gd name="T62" fmla="*/ 288 w 512"/>
                <a:gd name="T63" fmla="*/ 352 h 512"/>
                <a:gd name="T64" fmla="*/ 288 w 512"/>
                <a:gd name="T65" fmla="*/ 214 h 512"/>
                <a:gd name="T66" fmla="*/ 277 w 512"/>
                <a:gd name="T67" fmla="*/ 203 h 512"/>
                <a:gd name="T68" fmla="*/ 203 w 512"/>
                <a:gd name="T69" fmla="*/ 203 h 512"/>
                <a:gd name="T70" fmla="*/ 192 w 512"/>
                <a:gd name="T71" fmla="*/ 214 h 512"/>
                <a:gd name="T72" fmla="*/ 192 w 512"/>
                <a:gd name="T73" fmla="*/ 256 h 512"/>
                <a:gd name="T74" fmla="*/ 203 w 512"/>
                <a:gd name="T75" fmla="*/ 267 h 512"/>
                <a:gd name="T76" fmla="*/ 224 w 512"/>
                <a:gd name="T77" fmla="*/ 267 h 512"/>
                <a:gd name="T78" fmla="*/ 224 w 512"/>
                <a:gd name="T79" fmla="*/ 352 h 512"/>
                <a:gd name="T80" fmla="*/ 192 w 512"/>
                <a:gd name="T81" fmla="*/ 352 h 512"/>
                <a:gd name="T82" fmla="*/ 181 w 512"/>
                <a:gd name="T83" fmla="*/ 363 h 512"/>
                <a:gd name="T84" fmla="*/ 181 w 512"/>
                <a:gd name="T85" fmla="*/ 406 h 512"/>
                <a:gd name="T86" fmla="*/ 192 w 512"/>
                <a:gd name="T87" fmla="*/ 416 h 512"/>
                <a:gd name="T88" fmla="*/ 320 w 512"/>
                <a:gd name="T89" fmla="*/ 416 h 512"/>
                <a:gd name="T90" fmla="*/ 331 w 512"/>
                <a:gd name="T91" fmla="*/ 406 h 512"/>
                <a:gd name="T92" fmla="*/ 331 w 512"/>
                <a:gd name="T93" fmla="*/ 36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12" h="512">
                  <a:moveTo>
                    <a:pt x="235" y="139"/>
                  </a:moveTo>
                  <a:cubicBezTo>
                    <a:pt x="235" y="127"/>
                    <a:pt x="244" y="118"/>
                    <a:pt x="256" y="118"/>
                  </a:cubicBezTo>
                  <a:cubicBezTo>
                    <a:pt x="268" y="118"/>
                    <a:pt x="277" y="127"/>
                    <a:pt x="277" y="139"/>
                  </a:cubicBezTo>
                  <a:cubicBezTo>
                    <a:pt x="277" y="151"/>
                    <a:pt x="268" y="160"/>
                    <a:pt x="256" y="160"/>
                  </a:cubicBezTo>
                  <a:cubicBezTo>
                    <a:pt x="244" y="160"/>
                    <a:pt x="235" y="151"/>
                    <a:pt x="235" y="139"/>
                  </a:cubicBezTo>
                  <a:close/>
                  <a:moveTo>
                    <a:pt x="267" y="363"/>
                  </a:moveTo>
                  <a:cubicBezTo>
                    <a:pt x="267" y="224"/>
                    <a:pt x="267" y="224"/>
                    <a:pt x="267" y="224"/>
                  </a:cubicBezTo>
                  <a:cubicBezTo>
                    <a:pt x="213" y="224"/>
                    <a:pt x="213" y="224"/>
                    <a:pt x="213" y="224"/>
                  </a:cubicBezTo>
                  <a:cubicBezTo>
                    <a:pt x="213" y="246"/>
                    <a:pt x="213" y="246"/>
                    <a:pt x="213" y="246"/>
                  </a:cubicBezTo>
                  <a:cubicBezTo>
                    <a:pt x="235" y="246"/>
                    <a:pt x="235" y="246"/>
                    <a:pt x="235" y="246"/>
                  </a:cubicBezTo>
                  <a:cubicBezTo>
                    <a:pt x="241" y="246"/>
                    <a:pt x="245" y="250"/>
                    <a:pt x="245" y="256"/>
                  </a:cubicBezTo>
                  <a:cubicBezTo>
                    <a:pt x="245" y="363"/>
                    <a:pt x="245" y="363"/>
                    <a:pt x="245" y="363"/>
                  </a:cubicBezTo>
                  <a:cubicBezTo>
                    <a:pt x="245" y="369"/>
                    <a:pt x="241" y="374"/>
                    <a:pt x="235" y="374"/>
                  </a:cubicBezTo>
                  <a:cubicBezTo>
                    <a:pt x="203" y="374"/>
                    <a:pt x="203" y="374"/>
                    <a:pt x="203" y="374"/>
                  </a:cubicBezTo>
                  <a:cubicBezTo>
                    <a:pt x="203" y="395"/>
                    <a:pt x="203" y="395"/>
                    <a:pt x="203" y="395"/>
                  </a:cubicBezTo>
                  <a:cubicBezTo>
                    <a:pt x="309" y="395"/>
                    <a:pt x="309" y="395"/>
                    <a:pt x="309" y="395"/>
                  </a:cubicBezTo>
                  <a:cubicBezTo>
                    <a:pt x="309" y="374"/>
                    <a:pt x="309" y="374"/>
                    <a:pt x="309" y="374"/>
                  </a:cubicBezTo>
                  <a:cubicBezTo>
                    <a:pt x="277" y="374"/>
                    <a:pt x="277" y="374"/>
                    <a:pt x="277" y="374"/>
                  </a:cubicBezTo>
                  <a:cubicBezTo>
                    <a:pt x="271" y="374"/>
                    <a:pt x="267" y="369"/>
                    <a:pt x="267" y="363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213" y="139"/>
                  </a:moveTo>
                  <a:cubicBezTo>
                    <a:pt x="213" y="163"/>
                    <a:pt x="232" y="182"/>
                    <a:pt x="256" y="182"/>
                  </a:cubicBezTo>
                  <a:cubicBezTo>
                    <a:pt x="280" y="182"/>
                    <a:pt x="299" y="163"/>
                    <a:pt x="299" y="139"/>
                  </a:cubicBezTo>
                  <a:cubicBezTo>
                    <a:pt x="299" y="115"/>
                    <a:pt x="280" y="96"/>
                    <a:pt x="256" y="96"/>
                  </a:cubicBezTo>
                  <a:cubicBezTo>
                    <a:pt x="232" y="96"/>
                    <a:pt x="213" y="115"/>
                    <a:pt x="213" y="139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288" y="352"/>
                    <a:pt x="288" y="352"/>
                    <a:pt x="288" y="352"/>
                  </a:cubicBezTo>
                  <a:cubicBezTo>
                    <a:pt x="288" y="214"/>
                    <a:pt x="288" y="214"/>
                    <a:pt x="288" y="214"/>
                  </a:cubicBezTo>
                  <a:cubicBezTo>
                    <a:pt x="288" y="208"/>
                    <a:pt x="283" y="203"/>
                    <a:pt x="277" y="203"/>
                  </a:cubicBezTo>
                  <a:cubicBezTo>
                    <a:pt x="203" y="203"/>
                    <a:pt x="203" y="203"/>
                    <a:pt x="203" y="203"/>
                  </a:cubicBezTo>
                  <a:cubicBezTo>
                    <a:pt x="197" y="203"/>
                    <a:pt x="192" y="208"/>
                    <a:pt x="192" y="214"/>
                  </a:cubicBezTo>
                  <a:cubicBezTo>
                    <a:pt x="192" y="256"/>
                    <a:pt x="192" y="256"/>
                    <a:pt x="192" y="256"/>
                  </a:cubicBezTo>
                  <a:cubicBezTo>
                    <a:pt x="192" y="262"/>
                    <a:pt x="197" y="267"/>
                    <a:pt x="203" y="267"/>
                  </a:cubicBezTo>
                  <a:cubicBezTo>
                    <a:pt x="224" y="267"/>
                    <a:pt x="224" y="267"/>
                    <a:pt x="224" y="267"/>
                  </a:cubicBezTo>
                  <a:cubicBezTo>
                    <a:pt x="224" y="352"/>
                    <a:pt x="224" y="352"/>
                    <a:pt x="224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406"/>
                    <a:pt x="181" y="406"/>
                    <a:pt x="181" y="406"/>
                  </a:cubicBezTo>
                  <a:cubicBezTo>
                    <a:pt x="181" y="412"/>
                    <a:pt x="186" y="416"/>
                    <a:pt x="192" y="416"/>
                  </a:cubicBezTo>
                  <a:cubicBezTo>
                    <a:pt x="320" y="416"/>
                    <a:pt x="320" y="416"/>
                    <a:pt x="320" y="416"/>
                  </a:cubicBezTo>
                  <a:cubicBezTo>
                    <a:pt x="326" y="416"/>
                    <a:pt x="331" y="412"/>
                    <a:pt x="331" y="406"/>
                  </a:cubicBezTo>
                  <a:lnTo>
                    <a:pt x="331" y="36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64645">
                <a:defRPr/>
              </a:pPr>
              <a:endParaRPr lang="en-US" sz="1200" dirty="0">
                <a:solidFill>
                  <a:prstClr val="black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90404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510748" y="3966398"/>
            <a:ext cx="5613621" cy="5320008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 sz="1100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844675" y="765175"/>
            <a:ext cx="4735513" cy="2663825"/>
          </a:xfrm>
        </p:spPr>
      </p:sp>
      <p:sp>
        <p:nvSpPr>
          <p:cNvPr id="4" name="TextBox 3"/>
          <p:cNvSpPr txBox="1"/>
          <p:nvPr/>
        </p:nvSpPr>
        <p:spPr>
          <a:xfrm>
            <a:off x="188695" y="2078842"/>
            <a:ext cx="1147455" cy="434330"/>
          </a:xfrm>
          <a:prstGeom prst="rect">
            <a:avLst/>
          </a:prstGeom>
          <a:solidFill>
            <a:srgbClr val="92D050"/>
          </a:solidFill>
        </p:spPr>
        <p:txBody>
          <a:bodyPr wrap="square" lIns="94851" tIns="47425" rIns="94851" bIns="47425" rtlCol="0" anchor="b">
            <a:spAutoFit/>
          </a:bodyPr>
          <a:lstStyle/>
          <a:p>
            <a:pPr lvl="0" algn="ctr">
              <a:defRPr/>
            </a:pPr>
            <a:r>
              <a:rPr lang="en-US" sz="11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ule 1 –</a:t>
            </a:r>
            <a:r>
              <a:rPr lang="en-US" sz="1100" b="1" spc="-93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hat is Agile?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88695" y="4656721"/>
            <a:ext cx="1147455" cy="667522"/>
            <a:chOff x="136363" y="6047620"/>
            <a:chExt cx="1099644" cy="646331"/>
          </a:xfrm>
        </p:grpSpPr>
        <p:sp>
          <p:nvSpPr>
            <p:cNvPr id="7" name="TextBox 6"/>
            <p:cNvSpPr txBox="1"/>
            <p:nvPr/>
          </p:nvSpPr>
          <p:spPr>
            <a:xfrm>
              <a:off x="136363" y="6047620"/>
              <a:ext cx="1099644" cy="646331"/>
            </a:xfrm>
            <a:prstGeom prst="rect">
              <a:avLst/>
            </a:prstGeom>
            <a:solidFill>
              <a:srgbClr val="92D050"/>
            </a:solidFill>
          </p:spPr>
          <p:txBody>
            <a:bodyPr wrap="square" rtlCol="0" anchor="ctr">
              <a:spAutoFit/>
            </a:bodyPr>
            <a:lstStyle/>
            <a:p>
              <a:pPr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 defTabSz="1264645">
                <a:defRPr/>
              </a:pPr>
              <a:r>
                <a:rPr lang="en-US" sz="9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iscuss</a:t>
              </a:r>
            </a:p>
          </p:txBody>
        </p:sp>
        <p:sp>
          <p:nvSpPr>
            <p:cNvPr id="8" name="Freeform 430"/>
            <p:cNvSpPr>
              <a:spLocks noChangeAspect="1" noEditPoints="1"/>
            </p:cNvSpPr>
            <p:nvPr/>
          </p:nvSpPr>
          <p:spPr bwMode="auto">
            <a:xfrm>
              <a:off x="493739" y="6116870"/>
              <a:ext cx="376296" cy="344890"/>
            </a:xfrm>
            <a:custGeom>
              <a:avLst/>
              <a:gdLst>
                <a:gd name="T0" fmla="*/ 235 w 512"/>
                <a:gd name="T1" fmla="*/ 139 h 512"/>
                <a:gd name="T2" fmla="*/ 256 w 512"/>
                <a:gd name="T3" fmla="*/ 118 h 512"/>
                <a:gd name="T4" fmla="*/ 277 w 512"/>
                <a:gd name="T5" fmla="*/ 139 h 512"/>
                <a:gd name="T6" fmla="*/ 256 w 512"/>
                <a:gd name="T7" fmla="*/ 160 h 512"/>
                <a:gd name="T8" fmla="*/ 235 w 512"/>
                <a:gd name="T9" fmla="*/ 139 h 512"/>
                <a:gd name="T10" fmla="*/ 267 w 512"/>
                <a:gd name="T11" fmla="*/ 363 h 512"/>
                <a:gd name="T12" fmla="*/ 267 w 512"/>
                <a:gd name="T13" fmla="*/ 224 h 512"/>
                <a:gd name="T14" fmla="*/ 213 w 512"/>
                <a:gd name="T15" fmla="*/ 224 h 512"/>
                <a:gd name="T16" fmla="*/ 213 w 512"/>
                <a:gd name="T17" fmla="*/ 246 h 512"/>
                <a:gd name="T18" fmla="*/ 235 w 512"/>
                <a:gd name="T19" fmla="*/ 246 h 512"/>
                <a:gd name="T20" fmla="*/ 245 w 512"/>
                <a:gd name="T21" fmla="*/ 256 h 512"/>
                <a:gd name="T22" fmla="*/ 245 w 512"/>
                <a:gd name="T23" fmla="*/ 363 h 512"/>
                <a:gd name="T24" fmla="*/ 235 w 512"/>
                <a:gd name="T25" fmla="*/ 374 h 512"/>
                <a:gd name="T26" fmla="*/ 203 w 512"/>
                <a:gd name="T27" fmla="*/ 374 h 512"/>
                <a:gd name="T28" fmla="*/ 203 w 512"/>
                <a:gd name="T29" fmla="*/ 395 h 512"/>
                <a:gd name="T30" fmla="*/ 309 w 512"/>
                <a:gd name="T31" fmla="*/ 395 h 512"/>
                <a:gd name="T32" fmla="*/ 309 w 512"/>
                <a:gd name="T33" fmla="*/ 374 h 512"/>
                <a:gd name="T34" fmla="*/ 277 w 512"/>
                <a:gd name="T35" fmla="*/ 374 h 512"/>
                <a:gd name="T36" fmla="*/ 267 w 512"/>
                <a:gd name="T37" fmla="*/ 363 h 512"/>
                <a:gd name="T38" fmla="*/ 512 w 512"/>
                <a:gd name="T39" fmla="*/ 256 h 512"/>
                <a:gd name="T40" fmla="*/ 256 w 512"/>
                <a:gd name="T41" fmla="*/ 512 h 512"/>
                <a:gd name="T42" fmla="*/ 0 w 512"/>
                <a:gd name="T43" fmla="*/ 256 h 512"/>
                <a:gd name="T44" fmla="*/ 256 w 512"/>
                <a:gd name="T45" fmla="*/ 0 h 512"/>
                <a:gd name="T46" fmla="*/ 512 w 512"/>
                <a:gd name="T47" fmla="*/ 256 h 512"/>
                <a:gd name="T48" fmla="*/ 213 w 512"/>
                <a:gd name="T49" fmla="*/ 139 h 512"/>
                <a:gd name="T50" fmla="*/ 256 w 512"/>
                <a:gd name="T51" fmla="*/ 182 h 512"/>
                <a:gd name="T52" fmla="*/ 299 w 512"/>
                <a:gd name="T53" fmla="*/ 139 h 512"/>
                <a:gd name="T54" fmla="*/ 256 w 512"/>
                <a:gd name="T55" fmla="*/ 96 h 512"/>
                <a:gd name="T56" fmla="*/ 213 w 512"/>
                <a:gd name="T57" fmla="*/ 139 h 512"/>
                <a:gd name="T58" fmla="*/ 331 w 512"/>
                <a:gd name="T59" fmla="*/ 363 h 512"/>
                <a:gd name="T60" fmla="*/ 320 w 512"/>
                <a:gd name="T61" fmla="*/ 352 h 512"/>
                <a:gd name="T62" fmla="*/ 288 w 512"/>
                <a:gd name="T63" fmla="*/ 352 h 512"/>
                <a:gd name="T64" fmla="*/ 288 w 512"/>
                <a:gd name="T65" fmla="*/ 214 h 512"/>
                <a:gd name="T66" fmla="*/ 277 w 512"/>
                <a:gd name="T67" fmla="*/ 203 h 512"/>
                <a:gd name="T68" fmla="*/ 203 w 512"/>
                <a:gd name="T69" fmla="*/ 203 h 512"/>
                <a:gd name="T70" fmla="*/ 192 w 512"/>
                <a:gd name="T71" fmla="*/ 214 h 512"/>
                <a:gd name="T72" fmla="*/ 192 w 512"/>
                <a:gd name="T73" fmla="*/ 256 h 512"/>
                <a:gd name="T74" fmla="*/ 203 w 512"/>
                <a:gd name="T75" fmla="*/ 267 h 512"/>
                <a:gd name="T76" fmla="*/ 224 w 512"/>
                <a:gd name="T77" fmla="*/ 267 h 512"/>
                <a:gd name="T78" fmla="*/ 224 w 512"/>
                <a:gd name="T79" fmla="*/ 352 h 512"/>
                <a:gd name="T80" fmla="*/ 192 w 512"/>
                <a:gd name="T81" fmla="*/ 352 h 512"/>
                <a:gd name="T82" fmla="*/ 181 w 512"/>
                <a:gd name="T83" fmla="*/ 363 h 512"/>
                <a:gd name="T84" fmla="*/ 181 w 512"/>
                <a:gd name="T85" fmla="*/ 406 h 512"/>
                <a:gd name="T86" fmla="*/ 192 w 512"/>
                <a:gd name="T87" fmla="*/ 416 h 512"/>
                <a:gd name="T88" fmla="*/ 320 w 512"/>
                <a:gd name="T89" fmla="*/ 416 h 512"/>
                <a:gd name="T90" fmla="*/ 331 w 512"/>
                <a:gd name="T91" fmla="*/ 406 h 512"/>
                <a:gd name="T92" fmla="*/ 331 w 512"/>
                <a:gd name="T93" fmla="*/ 36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12" h="512">
                  <a:moveTo>
                    <a:pt x="235" y="139"/>
                  </a:moveTo>
                  <a:cubicBezTo>
                    <a:pt x="235" y="127"/>
                    <a:pt x="244" y="118"/>
                    <a:pt x="256" y="118"/>
                  </a:cubicBezTo>
                  <a:cubicBezTo>
                    <a:pt x="268" y="118"/>
                    <a:pt x="277" y="127"/>
                    <a:pt x="277" y="139"/>
                  </a:cubicBezTo>
                  <a:cubicBezTo>
                    <a:pt x="277" y="151"/>
                    <a:pt x="268" y="160"/>
                    <a:pt x="256" y="160"/>
                  </a:cubicBezTo>
                  <a:cubicBezTo>
                    <a:pt x="244" y="160"/>
                    <a:pt x="235" y="151"/>
                    <a:pt x="235" y="139"/>
                  </a:cubicBezTo>
                  <a:close/>
                  <a:moveTo>
                    <a:pt x="267" y="363"/>
                  </a:moveTo>
                  <a:cubicBezTo>
                    <a:pt x="267" y="224"/>
                    <a:pt x="267" y="224"/>
                    <a:pt x="267" y="224"/>
                  </a:cubicBezTo>
                  <a:cubicBezTo>
                    <a:pt x="213" y="224"/>
                    <a:pt x="213" y="224"/>
                    <a:pt x="213" y="224"/>
                  </a:cubicBezTo>
                  <a:cubicBezTo>
                    <a:pt x="213" y="246"/>
                    <a:pt x="213" y="246"/>
                    <a:pt x="213" y="246"/>
                  </a:cubicBezTo>
                  <a:cubicBezTo>
                    <a:pt x="235" y="246"/>
                    <a:pt x="235" y="246"/>
                    <a:pt x="235" y="246"/>
                  </a:cubicBezTo>
                  <a:cubicBezTo>
                    <a:pt x="241" y="246"/>
                    <a:pt x="245" y="250"/>
                    <a:pt x="245" y="256"/>
                  </a:cubicBezTo>
                  <a:cubicBezTo>
                    <a:pt x="245" y="363"/>
                    <a:pt x="245" y="363"/>
                    <a:pt x="245" y="363"/>
                  </a:cubicBezTo>
                  <a:cubicBezTo>
                    <a:pt x="245" y="369"/>
                    <a:pt x="241" y="374"/>
                    <a:pt x="235" y="374"/>
                  </a:cubicBezTo>
                  <a:cubicBezTo>
                    <a:pt x="203" y="374"/>
                    <a:pt x="203" y="374"/>
                    <a:pt x="203" y="374"/>
                  </a:cubicBezTo>
                  <a:cubicBezTo>
                    <a:pt x="203" y="395"/>
                    <a:pt x="203" y="395"/>
                    <a:pt x="203" y="395"/>
                  </a:cubicBezTo>
                  <a:cubicBezTo>
                    <a:pt x="309" y="395"/>
                    <a:pt x="309" y="395"/>
                    <a:pt x="309" y="395"/>
                  </a:cubicBezTo>
                  <a:cubicBezTo>
                    <a:pt x="309" y="374"/>
                    <a:pt x="309" y="374"/>
                    <a:pt x="309" y="374"/>
                  </a:cubicBezTo>
                  <a:cubicBezTo>
                    <a:pt x="277" y="374"/>
                    <a:pt x="277" y="374"/>
                    <a:pt x="277" y="374"/>
                  </a:cubicBezTo>
                  <a:cubicBezTo>
                    <a:pt x="271" y="374"/>
                    <a:pt x="267" y="369"/>
                    <a:pt x="267" y="363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213" y="139"/>
                  </a:moveTo>
                  <a:cubicBezTo>
                    <a:pt x="213" y="163"/>
                    <a:pt x="232" y="182"/>
                    <a:pt x="256" y="182"/>
                  </a:cubicBezTo>
                  <a:cubicBezTo>
                    <a:pt x="280" y="182"/>
                    <a:pt x="299" y="163"/>
                    <a:pt x="299" y="139"/>
                  </a:cubicBezTo>
                  <a:cubicBezTo>
                    <a:pt x="299" y="115"/>
                    <a:pt x="280" y="96"/>
                    <a:pt x="256" y="96"/>
                  </a:cubicBezTo>
                  <a:cubicBezTo>
                    <a:pt x="232" y="96"/>
                    <a:pt x="213" y="115"/>
                    <a:pt x="213" y="139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288" y="352"/>
                    <a:pt x="288" y="352"/>
                    <a:pt x="288" y="352"/>
                  </a:cubicBezTo>
                  <a:cubicBezTo>
                    <a:pt x="288" y="214"/>
                    <a:pt x="288" y="214"/>
                    <a:pt x="288" y="214"/>
                  </a:cubicBezTo>
                  <a:cubicBezTo>
                    <a:pt x="288" y="208"/>
                    <a:pt x="283" y="203"/>
                    <a:pt x="277" y="203"/>
                  </a:cubicBezTo>
                  <a:cubicBezTo>
                    <a:pt x="203" y="203"/>
                    <a:pt x="203" y="203"/>
                    <a:pt x="203" y="203"/>
                  </a:cubicBezTo>
                  <a:cubicBezTo>
                    <a:pt x="197" y="203"/>
                    <a:pt x="192" y="208"/>
                    <a:pt x="192" y="214"/>
                  </a:cubicBezTo>
                  <a:cubicBezTo>
                    <a:pt x="192" y="256"/>
                    <a:pt x="192" y="256"/>
                    <a:pt x="192" y="256"/>
                  </a:cubicBezTo>
                  <a:cubicBezTo>
                    <a:pt x="192" y="262"/>
                    <a:pt x="197" y="267"/>
                    <a:pt x="203" y="267"/>
                  </a:cubicBezTo>
                  <a:cubicBezTo>
                    <a:pt x="224" y="267"/>
                    <a:pt x="224" y="267"/>
                    <a:pt x="224" y="267"/>
                  </a:cubicBezTo>
                  <a:cubicBezTo>
                    <a:pt x="224" y="352"/>
                    <a:pt x="224" y="352"/>
                    <a:pt x="224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406"/>
                    <a:pt x="181" y="406"/>
                    <a:pt x="181" y="406"/>
                  </a:cubicBezTo>
                  <a:cubicBezTo>
                    <a:pt x="181" y="412"/>
                    <a:pt x="186" y="416"/>
                    <a:pt x="192" y="416"/>
                  </a:cubicBezTo>
                  <a:cubicBezTo>
                    <a:pt x="320" y="416"/>
                    <a:pt x="320" y="416"/>
                    <a:pt x="320" y="416"/>
                  </a:cubicBezTo>
                  <a:cubicBezTo>
                    <a:pt x="326" y="416"/>
                    <a:pt x="331" y="412"/>
                    <a:pt x="331" y="406"/>
                  </a:cubicBezTo>
                  <a:lnTo>
                    <a:pt x="331" y="36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64645">
                <a:defRPr/>
              </a:pPr>
              <a:endParaRPr lang="en-US" sz="1200" dirty="0">
                <a:solidFill>
                  <a:prstClr val="black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31072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510748" y="3966398"/>
            <a:ext cx="5613621" cy="5320008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 sz="1100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844675" y="765175"/>
            <a:ext cx="4735513" cy="2663825"/>
          </a:xfrm>
        </p:spPr>
      </p:sp>
      <p:sp>
        <p:nvSpPr>
          <p:cNvPr id="4" name="TextBox 3"/>
          <p:cNvSpPr txBox="1"/>
          <p:nvPr/>
        </p:nvSpPr>
        <p:spPr>
          <a:xfrm>
            <a:off x="188695" y="2078842"/>
            <a:ext cx="1147455" cy="434330"/>
          </a:xfrm>
          <a:prstGeom prst="rect">
            <a:avLst/>
          </a:prstGeom>
          <a:solidFill>
            <a:srgbClr val="92D050"/>
          </a:solidFill>
        </p:spPr>
        <p:txBody>
          <a:bodyPr wrap="square" lIns="94851" tIns="47425" rIns="94851" bIns="47425" rtlCol="0" anchor="b">
            <a:spAutoFit/>
          </a:bodyPr>
          <a:lstStyle/>
          <a:p>
            <a:pPr lvl="0" algn="ctr">
              <a:defRPr/>
            </a:pPr>
            <a:r>
              <a:rPr lang="en-US" sz="11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ule 1 –</a:t>
            </a:r>
            <a:r>
              <a:rPr lang="en-US" sz="1100" b="1" spc="-93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hat is Agile?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88695" y="4656721"/>
            <a:ext cx="1147455" cy="667522"/>
            <a:chOff x="136363" y="6047620"/>
            <a:chExt cx="1099644" cy="646331"/>
          </a:xfrm>
        </p:grpSpPr>
        <p:sp>
          <p:nvSpPr>
            <p:cNvPr id="7" name="TextBox 6"/>
            <p:cNvSpPr txBox="1"/>
            <p:nvPr/>
          </p:nvSpPr>
          <p:spPr>
            <a:xfrm>
              <a:off x="136363" y="6047620"/>
              <a:ext cx="1099644" cy="646331"/>
            </a:xfrm>
            <a:prstGeom prst="rect">
              <a:avLst/>
            </a:prstGeom>
            <a:solidFill>
              <a:srgbClr val="92D050"/>
            </a:solidFill>
          </p:spPr>
          <p:txBody>
            <a:bodyPr wrap="square" rtlCol="0" anchor="ctr">
              <a:spAutoFit/>
            </a:bodyPr>
            <a:lstStyle/>
            <a:p>
              <a:pPr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 defTabSz="1264645">
                <a:defRPr/>
              </a:pPr>
              <a:r>
                <a:rPr lang="en-US" sz="9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iscuss</a:t>
              </a:r>
            </a:p>
          </p:txBody>
        </p:sp>
        <p:sp>
          <p:nvSpPr>
            <p:cNvPr id="8" name="Freeform 430"/>
            <p:cNvSpPr>
              <a:spLocks noChangeAspect="1" noEditPoints="1"/>
            </p:cNvSpPr>
            <p:nvPr/>
          </p:nvSpPr>
          <p:spPr bwMode="auto">
            <a:xfrm>
              <a:off x="493739" y="6116870"/>
              <a:ext cx="376296" cy="344890"/>
            </a:xfrm>
            <a:custGeom>
              <a:avLst/>
              <a:gdLst>
                <a:gd name="T0" fmla="*/ 235 w 512"/>
                <a:gd name="T1" fmla="*/ 139 h 512"/>
                <a:gd name="T2" fmla="*/ 256 w 512"/>
                <a:gd name="T3" fmla="*/ 118 h 512"/>
                <a:gd name="T4" fmla="*/ 277 w 512"/>
                <a:gd name="T5" fmla="*/ 139 h 512"/>
                <a:gd name="T6" fmla="*/ 256 w 512"/>
                <a:gd name="T7" fmla="*/ 160 h 512"/>
                <a:gd name="T8" fmla="*/ 235 w 512"/>
                <a:gd name="T9" fmla="*/ 139 h 512"/>
                <a:gd name="T10" fmla="*/ 267 w 512"/>
                <a:gd name="T11" fmla="*/ 363 h 512"/>
                <a:gd name="T12" fmla="*/ 267 w 512"/>
                <a:gd name="T13" fmla="*/ 224 h 512"/>
                <a:gd name="T14" fmla="*/ 213 w 512"/>
                <a:gd name="T15" fmla="*/ 224 h 512"/>
                <a:gd name="T16" fmla="*/ 213 w 512"/>
                <a:gd name="T17" fmla="*/ 246 h 512"/>
                <a:gd name="T18" fmla="*/ 235 w 512"/>
                <a:gd name="T19" fmla="*/ 246 h 512"/>
                <a:gd name="T20" fmla="*/ 245 w 512"/>
                <a:gd name="T21" fmla="*/ 256 h 512"/>
                <a:gd name="T22" fmla="*/ 245 w 512"/>
                <a:gd name="T23" fmla="*/ 363 h 512"/>
                <a:gd name="T24" fmla="*/ 235 w 512"/>
                <a:gd name="T25" fmla="*/ 374 h 512"/>
                <a:gd name="T26" fmla="*/ 203 w 512"/>
                <a:gd name="T27" fmla="*/ 374 h 512"/>
                <a:gd name="T28" fmla="*/ 203 w 512"/>
                <a:gd name="T29" fmla="*/ 395 h 512"/>
                <a:gd name="T30" fmla="*/ 309 w 512"/>
                <a:gd name="T31" fmla="*/ 395 h 512"/>
                <a:gd name="T32" fmla="*/ 309 w 512"/>
                <a:gd name="T33" fmla="*/ 374 h 512"/>
                <a:gd name="T34" fmla="*/ 277 w 512"/>
                <a:gd name="T35" fmla="*/ 374 h 512"/>
                <a:gd name="T36" fmla="*/ 267 w 512"/>
                <a:gd name="T37" fmla="*/ 363 h 512"/>
                <a:gd name="T38" fmla="*/ 512 w 512"/>
                <a:gd name="T39" fmla="*/ 256 h 512"/>
                <a:gd name="T40" fmla="*/ 256 w 512"/>
                <a:gd name="T41" fmla="*/ 512 h 512"/>
                <a:gd name="T42" fmla="*/ 0 w 512"/>
                <a:gd name="T43" fmla="*/ 256 h 512"/>
                <a:gd name="T44" fmla="*/ 256 w 512"/>
                <a:gd name="T45" fmla="*/ 0 h 512"/>
                <a:gd name="T46" fmla="*/ 512 w 512"/>
                <a:gd name="T47" fmla="*/ 256 h 512"/>
                <a:gd name="T48" fmla="*/ 213 w 512"/>
                <a:gd name="T49" fmla="*/ 139 h 512"/>
                <a:gd name="T50" fmla="*/ 256 w 512"/>
                <a:gd name="T51" fmla="*/ 182 h 512"/>
                <a:gd name="T52" fmla="*/ 299 w 512"/>
                <a:gd name="T53" fmla="*/ 139 h 512"/>
                <a:gd name="T54" fmla="*/ 256 w 512"/>
                <a:gd name="T55" fmla="*/ 96 h 512"/>
                <a:gd name="T56" fmla="*/ 213 w 512"/>
                <a:gd name="T57" fmla="*/ 139 h 512"/>
                <a:gd name="T58" fmla="*/ 331 w 512"/>
                <a:gd name="T59" fmla="*/ 363 h 512"/>
                <a:gd name="T60" fmla="*/ 320 w 512"/>
                <a:gd name="T61" fmla="*/ 352 h 512"/>
                <a:gd name="T62" fmla="*/ 288 w 512"/>
                <a:gd name="T63" fmla="*/ 352 h 512"/>
                <a:gd name="T64" fmla="*/ 288 w 512"/>
                <a:gd name="T65" fmla="*/ 214 h 512"/>
                <a:gd name="T66" fmla="*/ 277 w 512"/>
                <a:gd name="T67" fmla="*/ 203 h 512"/>
                <a:gd name="T68" fmla="*/ 203 w 512"/>
                <a:gd name="T69" fmla="*/ 203 h 512"/>
                <a:gd name="T70" fmla="*/ 192 w 512"/>
                <a:gd name="T71" fmla="*/ 214 h 512"/>
                <a:gd name="T72" fmla="*/ 192 w 512"/>
                <a:gd name="T73" fmla="*/ 256 h 512"/>
                <a:gd name="T74" fmla="*/ 203 w 512"/>
                <a:gd name="T75" fmla="*/ 267 h 512"/>
                <a:gd name="T76" fmla="*/ 224 w 512"/>
                <a:gd name="T77" fmla="*/ 267 h 512"/>
                <a:gd name="T78" fmla="*/ 224 w 512"/>
                <a:gd name="T79" fmla="*/ 352 h 512"/>
                <a:gd name="T80" fmla="*/ 192 w 512"/>
                <a:gd name="T81" fmla="*/ 352 h 512"/>
                <a:gd name="T82" fmla="*/ 181 w 512"/>
                <a:gd name="T83" fmla="*/ 363 h 512"/>
                <a:gd name="T84" fmla="*/ 181 w 512"/>
                <a:gd name="T85" fmla="*/ 406 h 512"/>
                <a:gd name="T86" fmla="*/ 192 w 512"/>
                <a:gd name="T87" fmla="*/ 416 h 512"/>
                <a:gd name="T88" fmla="*/ 320 w 512"/>
                <a:gd name="T89" fmla="*/ 416 h 512"/>
                <a:gd name="T90" fmla="*/ 331 w 512"/>
                <a:gd name="T91" fmla="*/ 406 h 512"/>
                <a:gd name="T92" fmla="*/ 331 w 512"/>
                <a:gd name="T93" fmla="*/ 36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12" h="512">
                  <a:moveTo>
                    <a:pt x="235" y="139"/>
                  </a:moveTo>
                  <a:cubicBezTo>
                    <a:pt x="235" y="127"/>
                    <a:pt x="244" y="118"/>
                    <a:pt x="256" y="118"/>
                  </a:cubicBezTo>
                  <a:cubicBezTo>
                    <a:pt x="268" y="118"/>
                    <a:pt x="277" y="127"/>
                    <a:pt x="277" y="139"/>
                  </a:cubicBezTo>
                  <a:cubicBezTo>
                    <a:pt x="277" y="151"/>
                    <a:pt x="268" y="160"/>
                    <a:pt x="256" y="160"/>
                  </a:cubicBezTo>
                  <a:cubicBezTo>
                    <a:pt x="244" y="160"/>
                    <a:pt x="235" y="151"/>
                    <a:pt x="235" y="139"/>
                  </a:cubicBezTo>
                  <a:close/>
                  <a:moveTo>
                    <a:pt x="267" y="363"/>
                  </a:moveTo>
                  <a:cubicBezTo>
                    <a:pt x="267" y="224"/>
                    <a:pt x="267" y="224"/>
                    <a:pt x="267" y="224"/>
                  </a:cubicBezTo>
                  <a:cubicBezTo>
                    <a:pt x="213" y="224"/>
                    <a:pt x="213" y="224"/>
                    <a:pt x="213" y="224"/>
                  </a:cubicBezTo>
                  <a:cubicBezTo>
                    <a:pt x="213" y="246"/>
                    <a:pt x="213" y="246"/>
                    <a:pt x="213" y="246"/>
                  </a:cubicBezTo>
                  <a:cubicBezTo>
                    <a:pt x="235" y="246"/>
                    <a:pt x="235" y="246"/>
                    <a:pt x="235" y="246"/>
                  </a:cubicBezTo>
                  <a:cubicBezTo>
                    <a:pt x="241" y="246"/>
                    <a:pt x="245" y="250"/>
                    <a:pt x="245" y="256"/>
                  </a:cubicBezTo>
                  <a:cubicBezTo>
                    <a:pt x="245" y="363"/>
                    <a:pt x="245" y="363"/>
                    <a:pt x="245" y="363"/>
                  </a:cubicBezTo>
                  <a:cubicBezTo>
                    <a:pt x="245" y="369"/>
                    <a:pt x="241" y="374"/>
                    <a:pt x="235" y="374"/>
                  </a:cubicBezTo>
                  <a:cubicBezTo>
                    <a:pt x="203" y="374"/>
                    <a:pt x="203" y="374"/>
                    <a:pt x="203" y="374"/>
                  </a:cubicBezTo>
                  <a:cubicBezTo>
                    <a:pt x="203" y="395"/>
                    <a:pt x="203" y="395"/>
                    <a:pt x="203" y="395"/>
                  </a:cubicBezTo>
                  <a:cubicBezTo>
                    <a:pt x="309" y="395"/>
                    <a:pt x="309" y="395"/>
                    <a:pt x="309" y="395"/>
                  </a:cubicBezTo>
                  <a:cubicBezTo>
                    <a:pt x="309" y="374"/>
                    <a:pt x="309" y="374"/>
                    <a:pt x="309" y="374"/>
                  </a:cubicBezTo>
                  <a:cubicBezTo>
                    <a:pt x="277" y="374"/>
                    <a:pt x="277" y="374"/>
                    <a:pt x="277" y="374"/>
                  </a:cubicBezTo>
                  <a:cubicBezTo>
                    <a:pt x="271" y="374"/>
                    <a:pt x="267" y="369"/>
                    <a:pt x="267" y="363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213" y="139"/>
                  </a:moveTo>
                  <a:cubicBezTo>
                    <a:pt x="213" y="163"/>
                    <a:pt x="232" y="182"/>
                    <a:pt x="256" y="182"/>
                  </a:cubicBezTo>
                  <a:cubicBezTo>
                    <a:pt x="280" y="182"/>
                    <a:pt x="299" y="163"/>
                    <a:pt x="299" y="139"/>
                  </a:cubicBezTo>
                  <a:cubicBezTo>
                    <a:pt x="299" y="115"/>
                    <a:pt x="280" y="96"/>
                    <a:pt x="256" y="96"/>
                  </a:cubicBezTo>
                  <a:cubicBezTo>
                    <a:pt x="232" y="96"/>
                    <a:pt x="213" y="115"/>
                    <a:pt x="213" y="139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288" y="352"/>
                    <a:pt x="288" y="352"/>
                    <a:pt x="288" y="352"/>
                  </a:cubicBezTo>
                  <a:cubicBezTo>
                    <a:pt x="288" y="214"/>
                    <a:pt x="288" y="214"/>
                    <a:pt x="288" y="214"/>
                  </a:cubicBezTo>
                  <a:cubicBezTo>
                    <a:pt x="288" y="208"/>
                    <a:pt x="283" y="203"/>
                    <a:pt x="277" y="203"/>
                  </a:cubicBezTo>
                  <a:cubicBezTo>
                    <a:pt x="203" y="203"/>
                    <a:pt x="203" y="203"/>
                    <a:pt x="203" y="203"/>
                  </a:cubicBezTo>
                  <a:cubicBezTo>
                    <a:pt x="197" y="203"/>
                    <a:pt x="192" y="208"/>
                    <a:pt x="192" y="214"/>
                  </a:cubicBezTo>
                  <a:cubicBezTo>
                    <a:pt x="192" y="256"/>
                    <a:pt x="192" y="256"/>
                    <a:pt x="192" y="256"/>
                  </a:cubicBezTo>
                  <a:cubicBezTo>
                    <a:pt x="192" y="262"/>
                    <a:pt x="197" y="267"/>
                    <a:pt x="203" y="267"/>
                  </a:cubicBezTo>
                  <a:cubicBezTo>
                    <a:pt x="224" y="267"/>
                    <a:pt x="224" y="267"/>
                    <a:pt x="224" y="267"/>
                  </a:cubicBezTo>
                  <a:cubicBezTo>
                    <a:pt x="224" y="352"/>
                    <a:pt x="224" y="352"/>
                    <a:pt x="224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406"/>
                    <a:pt x="181" y="406"/>
                    <a:pt x="181" y="406"/>
                  </a:cubicBezTo>
                  <a:cubicBezTo>
                    <a:pt x="181" y="412"/>
                    <a:pt x="186" y="416"/>
                    <a:pt x="192" y="416"/>
                  </a:cubicBezTo>
                  <a:cubicBezTo>
                    <a:pt x="320" y="416"/>
                    <a:pt x="320" y="416"/>
                    <a:pt x="320" y="416"/>
                  </a:cubicBezTo>
                  <a:cubicBezTo>
                    <a:pt x="326" y="416"/>
                    <a:pt x="331" y="412"/>
                    <a:pt x="331" y="406"/>
                  </a:cubicBezTo>
                  <a:lnTo>
                    <a:pt x="331" y="36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64645">
                <a:defRPr/>
              </a:pPr>
              <a:endParaRPr lang="en-US" sz="1200" dirty="0">
                <a:solidFill>
                  <a:prstClr val="black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64325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510748" y="3966398"/>
            <a:ext cx="5613621" cy="5320008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 sz="1100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844675" y="765175"/>
            <a:ext cx="4735513" cy="2663825"/>
          </a:xfrm>
        </p:spPr>
      </p:sp>
      <p:sp>
        <p:nvSpPr>
          <p:cNvPr id="4" name="TextBox 3"/>
          <p:cNvSpPr txBox="1"/>
          <p:nvPr/>
        </p:nvSpPr>
        <p:spPr>
          <a:xfrm>
            <a:off x="188695" y="2078842"/>
            <a:ext cx="1147455" cy="434330"/>
          </a:xfrm>
          <a:prstGeom prst="rect">
            <a:avLst/>
          </a:prstGeom>
          <a:solidFill>
            <a:srgbClr val="92D050"/>
          </a:solidFill>
        </p:spPr>
        <p:txBody>
          <a:bodyPr wrap="square" lIns="94851" tIns="47425" rIns="94851" bIns="47425" rtlCol="0" anchor="b">
            <a:spAutoFit/>
          </a:bodyPr>
          <a:lstStyle/>
          <a:p>
            <a:pPr lvl="0" algn="ctr">
              <a:defRPr/>
            </a:pPr>
            <a:r>
              <a:rPr lang="en-US" sz="11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ule 1 –</a:t>
            </a:r>
            <a:r>
              <a:rPr lang="en-US" sz="1100" b="1" spc="-93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hat is Agile?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88695" y="4656721"/>
            <a:ext cx="1147455" cy="667522"/>
            <a:chOff x="136363" y="6047620"/>
            <a:chExt cx="1099644" cy="646331"/>
          </a:xfrm>
        </p:grpSpPr>
        <p:sp>
          <p:nvSpPr>
            <p:cNvPr id="7" name="TextBox 6"/>
            <p:cNvSpPr txBox="1"/>
            <p:nvPr/>
          </p:nvSpPr>
          <p:spPr>
            <a:xfrm>
              <a:off x="136363" y="6047620"/>
              <a:ext cx="1099644" cy="646331"/>
            </a:xfrm>
            <a:prstGeom prst="rect">
              <a:avLst/>
            </a:prstGeom>
            <a:solidFill>
              <a:srgbClr val="92D050"/>
            </a:solidFill>
          </p:spPr>
          <p:txBody>
            <a:bodyPr wrap="square" rtlCol="0" anchor="ctr">
              <a:spAutoFit/>
            </a:bodyPr>
            <a:lstStyle/>
            <a:p>
              <a:pPr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 defTabSz="1264645">
                <a:defRPr/>
              </a:pPr>
              <a:r>
                <a:rPr lang="en-US" sz="9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iscuss</a:t>
              </a:r>
            </a:p>
          </p:txBody>
        </p:sp>
        <p:sp>
          <p:nvSpPr>
            <p:cNvPr id="8" name="Freeform 430"/>
            <p:cNvSpPr>
              <a:spLocks noChangeAspect="1" noEditPoints="1"/>
            </p:cNvSpPr>
            <p:nvPr/>
          </p:nvSpPr>
          <p:spPr bwMode="auto">
            <a:xfrm>
              <a:off x="493739" y="6116870"/>
              <a:ext cx="376296" cy="344890"/>
            </a:xfrm>
            <a:custGeom>
              <a:avLst/>
              <a:gdLst>
                <a:gd name="T0" fmla="*/ 235 w 512"/>
                <a:gd name="T1" fmla="*/ 139 h 512"/>
                <a:gd name="T2" fmla="*/ 256 w 512"/>
                <a:gd name="T3" fmla="*/ 118 h 512"/>
                <a:gd name="T4" fmla="*/ 277 w 512"/>
                <a:gd name="T5" fmla="*/ 139 h 512"/>
                <a:gd name="T6" fmla="*/ 256 w 512"/>
                <a:gd name="T7" fmla="*/ 160 h 512"/>
                <a:gd name="T8" fmla="*/ 235 w 512"/>
                <a:gd name="T9" fmla="*/ 139 h 512"/>
                <a:gd name="T10" fmla="*/ 267 w 512"/>
                <a:gd name="T11" fmla="*/ 363 h 512"/>
                <a:gd name="T12" fmla="*/ 267 w 512"/>
                <a:gd name="T13" fmla="*/ 224 h 512"/>
                <a:gd name="T14" fmla="*/ 213 w 512"/>
                <a:gd name="T15" fmla="*/ 224 h 512"/>
                <a:gd name="T16" fmla="*/ 213 w 512"/>
                <a:gd name="T17" fmla="*/ 246 h 512"/>
                <a:gd name="T18" fmla="*/ 235 w 512"/>
                <a:gd name="T19" fmla="*/ 246 h 512"/>
                <a:gd name="T20" fmla="*/ 245 w 512"/>
                <a:gd name="T21" fmla="*/ 256 h 512"/>
                <a:gd name="T22" fmla="*/ 245 w 512"/>
                <a:gd name="T23" fmla="*/ 363 h 512"/>
                <a:gd name="T24" fmla="*/ 235 w 512"/>
                <a:gd name="T25" fmla="*/ 374 h 512"/>
                <a:gd name="T26" fmla="*/ 203 w 512"/>
                <a:gd name="T27" fmla="*/ 374 h 512"/>
                <a:gd name="T28" fmla="*/ 203 w 512"/>
                <a:gd name="T29" fmla="*/ 395 h 512"/>
                <a:gd name="T30" fmla="*/ 309 w 512"/>
                <a:gd name="T31" fmla="*/ 395 h 512"/>
                <a:gd name="T32" fmla="*/ 309 w 512"/>
                <a:gd name="T33" fmla="*/ 374 h 512"/>
                <a:gd name="T34" fmla="*/ 277 w 512"/>
                <a:gd name="T35" fmla="*/ 374 h 512"/>
                <a:gd name="T36" fmla="*/ 267 w 512"/>
                <a:gd name="T37" fmla="*/ 363 h 512"/>
                <a:gd name="T38" fmla="*/ 512 w 512"/>
                <a:gd name="T39" fmla="*/ 256 h 512"/>
                <a:gd name="T40" fmla="*/ 256 w 512"/>
                <a:gd name="T41" fmla="*/ 512 h 512"/>
                <a:gd name="T42" fmla="*/ 0 w 512"/>
                <a:gd name="T43" fmla="*/ 256 h 512"/>
                <a:gd name="T44" fmla="*/ 256 w 512"/>
                <a:gd name="T45" fmla="*/ 0 h 512"/>
                <a:gd name="T46" fmla="*/ 512 w 512"/>
                <a:gd name="T47" fmla="*/ 256 h 512"/>
                <a:gd name="T48" fmla="*/ 213 w 512"/>
                <a:gd name="T49" fmla="*/ 139 h 512"/>
                <a:gd name="T50" fmla="*/ 256 w 512"/>
                <a:gd name="T51" fmla="*/ 182 h 512"/>
                <a:gd name="T52" fmla="*/ 299 w 512"/>
                <a:gd name="T53" fmla="*/ 139 h 512"/>
                <a:gd name="T54" fmla="*/ 256 w 512"/>
                <a:gd name="T55" fmla="*/ 96 h 512"/>
                <a:gd name="T56" fmla="*/ 213 w 512"/>
                <a:gd name="T57" fmla="*/ 139 h 512"/>
                <a:gd name="T58" fmla="*/ 331 w 512"/>
                <a:gd name="T59" fmla="*/ 363 h 512"/>
                <a:gd name="T60" fmla="*/ 320 w 512"/>
                <a:gd name="T61" fmla="*/ 352 h 512"/>
                <a:gd name="T62" fmla="*/ 288 w 512"/>
                <a:gd name="T63" fmla="*/ 352 h 512"/>
                <a:gd name="T64" fmla="*/ 288 w 512"/>
                <a:gd name="T65" fmla="*/ 214 h 512"/>
                <a:gd name="T66" fmla="*/ 277 w 512"/>
                <a:gd name="T67" fmla="*/ 203 h 512"/>
                <a:gd name="T68" fmla="*/ 203 w 512"/>
                <a:gd name="T69" fmla="*/ 203 h 512"/>
                <a:gd name="T70" fmla="*/ 192 w 512"/>
                <a:gd name="T71" fmla="*/ 214 h 512"/>
                <a:gd name="T72" fmla="*/ 192 w 512"/>
                <a:gd name="T73" fmla="*/ 256 h 512"/>
                <a:gd name="T74" fmla="*/ 203 w 512"/>
                <a:gd name="T75" fmla="*/ 267 h 512"/>
                <a:gd name="T76" fmla="*/ 224 w 512"/>
                <a:gd name="T77" fmla="*/ 267 h 512"/>
                <a:gd name="T78" fmla="*/ 224 w 512"/>
                <a:gd name="T79" fmla="*/ 352 h 512"/>
                <a:gd name="T80" fmla="*/ 192 w 512"/>
                <a:gd name="T81" fmla="*/ 352 h 512"/>
                <a:gd name="T82" fmla="*/ 181 w 512"/>
                <a:gd name="T83" fmla="*/ 363 h 512"/>
                <a:gd name="T84" fmla="*/ 181 w 512"/>
                <a:gd name="T85" fmla="*/ 406 h 512"/>
                <a:gd name="T86" fmla="*/ 192 w 512"/>
                <a:gd name="T87" fmla="*/ 416 h 512"/>
                <a:gd name="T88" fmla="*/ 320 w 512"/>
                <a:gd name="T89" fmla="*/ 416 h 512"/>
                <a:gd name="T90" fmla="*/ 331 w 512"/>
                <a:gd name="T91" fmla="*/ 406 h 512"/>
                <a:gd name="T92" fmla="*/ 331 w 512"/>
                <a:gd name="T93" fmla="*/ 36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12" h="512">
                  <a:moveTo>
                    <a:pt x="235" y="139"/>
                  </a:moveTo>
                  <a:cubicBezTo>
                    <a:pt x="235" y="127"/>
                    <a:pt x="244" y="118"/>
                    <a:pt x="256" y="118"/>
                  </a:cubicBezTo>
                  <a:cubicBezTo>
                    <a:pt x="268" y="118"/>
                    <a:pt x="277" y="127"/>
                    <a:pt x="277" y="139"/>
                  </a:cubicBezTo>
                  <a:cubicBezTo>
                    <a:pt x="277" y="151"/>
                    <a:pt x="268" y="160"/>
                    <a:pt x="256" y="160"/>
                  </a:cubicBezTo>
                  <a:cubicBezTo>
                    <a:pt x="244" y="160"/>
                    <a:pt x="235" y="151"/>
                    <a:pt x="235" y="139"/>
                  </a:cubicBezTo>
                  <a:close/>
                  <a:moveTo>
                    <a:pt x="267" y="363"/>
                  </a:moveTo>
                  <a:cubicBezTo>
                    <a:pt x="267" y="224"/>
                    <a:pt x="267" y="224"/>
                    <a:pt x="267" y="224"/>
                  </a:cubicBezTo>
                  <a:cubicBezTo>
                    <a:pt x="213" y="224"/>
                    <a:pt x="213" y="224"/>
                    <a:pt x="213" y="224"/>
                  </a:cubicBezTo>
                  <a:cubicBezTo>
                    <a:pt x="213" y="246"/>
                    <a:pt x="213" y="246"/>
                    <a:pt x="213" y="246"/>
                  </a:cubicBezTo>
                  <a:cubicBezTo>
                    <a:pt x="235" y="246"/>
                    <a:pt x="235" y="246"/>
                    <a:pt x="235" y="246"/>
                  </a:cubicBezTo>
                  <a:cubicBezTo>
                    <a:pt x="241" y="246"/>
                    <a:pt x="245" y="250"/>
                    <a:pt x="245" y="256"/>
                  </a:cubicBezTo>
                  <a:cubicBezTo>
                    <a:pt x="245" y="363"/>
                    <a:pt x="245" y="363"/>
                    <a:pt x="245" y="363"/>
                  </a:cubicBezTo>
                  <a:cubicBezTo>
                    <a:pt x="245" y="369"/>
                    <a:pt x="241" y="374"/>
                    <a:pt x="235" y="374"/>
                  </a:cubicBezTo>
                  <a:cubicBezTo>
                    <a:pt x="203" y="374"/>
                    <a:pt x="203" y="374"/>
                    <a:pt x="203" y="374"/>
                  </a:cubicBezTo>
                  <a:cubicBezTo>
                    <a:pt x="203" y="395"/>
                    <a:pt x="203" y="395"/>
                    <a:pt x="203" y="395"/>
                  </a:cubicBezTo>
                  <a:cubicBezTo>
                    <a:pt x="309" y="395"/>
                    <a:pt x="309" y="395"/>
                    <a:pt x="309" y="395"/>
                  </a:cubicBezTo>
                  <a:cubicBezTo>
                    <a:pt x="309" y="374"/>
                    <a:pt x="309" y="374"/>
                    <a:pt x="309" y="374"/>
                  </a:cubicBezTo>
                  <a:cubicBezTo>
                    <a:pt x="277" y="374"/>
                    <a:pt x="277" y="374"/>
                    <a:pt x="277" y="374"/>
                  </a:cubicBezTo>
                  <a:cubicBezTo>
                    <a:pt x="271" y="374"/>
                    <a:pt x="267" y="369"/>
                    <a:pt x="267" y="363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213" y="139"/>
                  </a:moveTo>
                  <a:cubicBezTo>
                    <a:pt x="213" y="163"/>
                    <a:pt x="232" y="182"/>
                    <a:pt x="256" y="182"/>
                  </a:cubicBezTo>
                  <a:cubicBezTo>
                    <a:pt x="280" y="182"/>
                    <a:pt x="299" y="163"/>
                    <a:pt x="299" y="139"/>
                  </a:cubicBezTo>
                  <a:cubicBezTo>
                    <a:pt x="299" y="115"/>
                    <a:pt x="280" y="96"/>
                    <a:pt x="256" y="96"/>
                  </a:cubicBezTo>
                  <a:cubicBezTo>
                    <a:pt x="232" y="96"/>
                    <a:pt x="213" y="115"/>
                    <a:pt x="213" y="139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288" y="352"/>
                    <a:pt x="288" y="352"/>
                    <a:pt x="288" y="352"/>
                  </a:cubicBezTo>
                  <a:cubicBezTo>
                    <a:pt x="288" y="214"/>
                    <a:pt x="288" y="214"/>
                    <a:pt x="288" y="214"/>
                  </a:cubicBezTo>
                  <a:cubicBezTo>
                    <a:pt x="288" y="208"/>
                    <a:pt x="283" y="203"/>
                    <a:pt x="277" y="203"/>
                  </a:cubicBezTo>
                  <a:cubicBezTo>
                    <a:pt x="203" y="203"/>
                    <a:pt x="203" y="203"/>
                    <a:pt x="203" y="203"/>
                  </a:cubicBezTo>
                  <a:cubicBezTo>
                    <a:pt x="197" y="203"/>
                    <a:pt x="192" y="208"/>
                    <a:pt x="192" y="214"/>
                  </a:cubicBezTo>
                  <a:cubicBezTo>
                    <a:pt x="192" y="256"/>
                    <a:pt x="192" y="256"/>
                    <a:pt x="192" y="256"/>
                  </a:cubicBezTo>
                  <a:cubicBezTo>
                    <a:pt x="192" y="262"/>
                    <a:pt x="197" y="267"/>
                    <a:pt x="203" y="267"/>
                  </a:cubicBezTo>
                  <a:cubicBezTo>
                    <a:pt x="224" y="267"/>
                    <a:pt x="224" y="267"/>
                    <a:pt x="224" y="267"/>
                  </a:cubicBezTo>
                  <a:cubicBezTo>
                    <a:pt x="224" y="352"/>
                    <a:pt x="224" y="352"/>
                    <a:pt x="224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406"/>
                    <a:pt x="181" y="406"/>
                    <a:pt x="181" y="406"/>
                  </a:cubicBezTo>
                  <a:cubicBezTo>
                    <a:pt x="181" y="412"/>
                    <a:pt x="186" y="416"/>
                    <a:pt x="192" y="416"/>
                  </a:cubicBezTo>
                  <a:cubicBezTo>
                    <a:pt x="320" y="416"/>
                    <a:pt x="320" y="416"/>
                    <a:pt x="320" y="416"/>
                  </a:cubicBezTo>
                  <a:cubicBezTo>
                    <a:pt x="326" y="416"/>
                    <a:pt x="331" y="412"/>
                    <a:pt x="331" y="406"/>
                  </a:cubicBezTo>
                  <a:lnTo>
                    <a:pt x="331" y="36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64645">
                <a:defRPr/>
              </a:pPr>
              <a:endParaRPr lang="en-US" sz="1200" dirty="0">
                <a:solidFill>
                  <a:prstClr val="black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69350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510748" y="3966398"/>
            <a:ext cx="5613621" cy="5320008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 sz="1100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844675" y="765175"/>
            <a:ext cx="4735513" cy="2663825"/>
          </a:xfrm>
        </p:spPr>
      </p:sp>
      <p:sp>
        <p:nvSpPr>
          <p:cNvPr id="4" name="TextBox 3"/>
          <p:cNvSpPr txBox="1"/>
          <p:nvPr/>
        </p:nvSpPr>
        <p:spPr>
          <a:xfrm>
            <a:off x="188695" y="2078842"/>
            <a:ext cx="1147455" cy="434330"/>
          </a:xfrm>
          <a:prstGeom prst="rect">
            <a:avLst/>
          </a:prstGeom>
          <a:solidFill>
            <a:srgbClr val="92D050"/>
          </a:solidFill>
        </p:spPr>
        <p:txBody>
          <a:bodyPr wrap="square" lIns="94851" tIns="47425" rIns="94851" bIns="47425" rtlCol="0" anchor="b">
            <a:spAutoFit/>
          </a:bodyPr>
          <a:lstStyle/>
          <a:p>
            <a:pPr lvl="0" algn="ctr">
              <a:defRPr/>
            </a:pPr>
            <a:r>
              <a:rPr lang="en-US" sz="11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ule 1 –</a:t>
            </a:r>
            <a:r>
              <a:rPr lang="en-US" sz="1100" b="1" spc="-93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hat is Agile?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88695" y="4656721"/>
            <a:ext cx="1147455" cy="667522"/>
            <a:chOff x="136363" y="6047620"/>
            <a:chExt cx="1099644" cy="646331"/>
          </a:xfrm>
        </p:grpSpPr>
        <p:sp>
          <p:nvSpPr>
            <p:cNvPr id="7" name="TextBox 6"/>
            <p:cNvSpPr txBox="1"/>
            <p:nvPr/>
          </p:nvSpPr>
          <p:spPr>
            <a:xfrm>
              <a:off x="136363" y="6047620"/>
              <a:ext cx="1099644" cy="646331"/>
            </a:xfrm>
            <a:prstGeom prst="rect">
              <a:avLst/>
            </a:prstGeom>
            <a:solidFill>
              <a:srgbClr val="92D050"/>
            </a:solidFill>
          </p:spPr>
          <p:txBody>
            <a:bodyPr wrap="square" rtlCol="0" anchor="ctr">
              <a:spAutoFit/>
            </a:bodyPr>
            <a:lstStyle/>
            <a:p>
              <a:pPr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 defTabSz="1264645">
                <a:defRPr/>
              </a:pPr>
              <a:endParaRPr lang="en-U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 defTabSz="1264645">
                <a:defRPr/>
              </a:pPr>
              <a:r>
                <a:rPr lang="en-US" sz="9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iscuss</a:t>
              </a:r>
            </a:p>
          </p:txBody>
        </p:sp>
        <p:sp>
          <p:nvSpPr>
            <p:cNvPr id="8" name="Freeform 430"/>
            <p:cNvSpPr>
              <a:spLocks noChangeAspect="1" noEditPoints="1"/>
            </p:cNvSpPr>
            <p:nvPr/>
          </p:nvSpPr>
          <p:spPr bwMode="auto">
            <a:xfrm>
              <a:off x="493739" y="6116870"/>
              <a:ext cx="376296" cy="344890"/>
            </a:xfrm>
            <a:custGeom>
              <a:avLst/>
              <a:gdLst>
                <a:gd name="T0" fmla="*/ 235 w 512"/>
                <a:gd name="T1" fmla="*/ 139 h 512"/>
                <a:gd name="T2" fmla="*/ 256 w 512"/>
                <a:gd name="T3" fmla="*/ 118 h 512"/>
                <a:gd name="T4" fmla="*/ 277 w 512"/>
                <a:gd name="T5" fmla="*/ 139 h 512"/>
                <a:gd name="T6" fmla="*/ 256 w 512"/>
                <a:gd name="T7" fmla="*/ 160 h 512"/>
                <a:gd name="T8" fmla="*/ 235 w 512"/>
                <a:gd name="T9" fmla="*/ 139 h 512"/>
                <a:gd name="T10" fmla="*/ 267 w 512"/>
                <a:gd name="T11" fmla="*/ 363 h 512"/>
                <a:gd name="T12" fmla="*/ 267 w 512"/>
                <a:gd name="T13" fmla="*/ 224 h 512"/>
                <a:gd name="T14" fmla="*/ 213 w 512"/>
                <a:gd name="T15" fmla="*/ 224 h 512"/>
                <a:gd name="T16" fmla="*/ 213 w 512"/>
                <a:gd name="T17" fmla="*/ 246 h 512"/>
                <a:gd name="T18" fmla="*/ 235 w 512"/>
                <a:gd name="T19" fmla="*/ 246 h 512"/>
                <a:gd name="T20" fmla="*/ 245 w 512"/>
                <a:gd name="T21" fmla="*/ 256 h 512"/>
                <a:gd name="T22" fmla="*/ 245 w 512"/>
                <a:gd name="T23" fmla="*/ 363 h 512"/>
                <a:gd name="T24" fmla="*/ 235 w 512"/>
                <a:gd name="T25" fmla="*/ 374 h 512"/>
                <a:gd name="T26" fmla="*/ 203 w 512"/>
                <a:gd name="T27" fmla="*/ 374 h 512"/>
                <a:gd name="T28" fmla="*/ 203 w 512"/>
                <a:gd name="T29" fmla="*/ 395 h 512"/>
                <a:gd name="T30" fmla="*/ 309 w 512"/>
                <a:gd name="T31" fmla="*/ 395 h 512"/>
                <a:gd name="T32" fmla="*/ 309 w 512"/>
                <a:gd name="T33" fmla="*/ 374 h 512"/>
                <a:gd name="T34" fmla="*/ 277 w 512"/>
                <a:gd name="T35" fmla="*/ 374 h 512"/>
                <a:gd name="T36" fmla="*/ 267 w 512"/>
                <a:gd name="T37" fmla="*/ 363 h 512"/>
                <a:gd name="T38" fmla="*/ 512 w 512"/>
                <a:gd name="T39" fmla="*/ 256 h 512"/>
                <a:gd name="T40" fmla="*/ 256 w 512"/>
                <a:gd name="T41" fmla="*/ 512 h 512"/>
                <a:gd name="T42" fmla="*/ 0 w 512"/>
                <a:gd name="T43" fmla="*/ 256 h 512"/>
                <a:gd name="T44" fmla="*/ 256 w 512"/>
                <a:gd name="T45" fmla="*/ 0 h 512"/>
                <a:gd name="T46" fmla="*/ 512 w 512"/>
                <a:gd name="T47" fmla="*/ 256 h 512"/>
                <a:gd name="T48" fmla="*/ 213 w 512"/>
                <a:gd name="T49" fmla="*/ 139 h 512"/>
                <a:gd name="T50" fmla="*/ 256 w 512"/>
                <a:gd name="T51" fmla="*/ 182 h 512"/>
                <a:gd name="T52" fmla="*/ 299 w 512"/>
                <a:gd name="T53" fmla="*/ 139 h 512"/>
                <a:gd name="T54" fmla="*/ 256 w 512"/>
                <a:gd name="T55" fmla="*/ 96 h 512"/>
                <a:gd name="T56" fmla="*/ 213 w 512"/>
                <a:gd name="T57" fmla="*/ 139 h 512"/>
                <a:gd name="T58" fmla="*/ 331 w 512"/>
                <a:gd name="T59" fmla="*/ 363 h 512"/>
                <a:gd name="T60" fmla="*/ 320 w 512"/>
                <a:gd name="T61" fmla="*/ 352 h 512"/>
                <a:gd name="T62" fmla="*/ 288 w 512"/>
                <a:gd name="T63" fmla="*/ 352 h 512"/>
                <a:gd name="T64" fmla="*/ 288 w 512"/>
                <a:gd name="T65" fmla="*/ 214 h 512"/>
                <a:gd name="T66" fmla="*/ 277 w 512"/>
                <a:gd name="T67" fmla="*/ 203 h 512"/>
                <a:gd name="T68" fmla="*/ 203 w 512"/>
                <a:gd name="T69" fmla="*/ 203 h 512"/>
                <a:gd name="T70" fmla="*/ 192 w 512"/>
                <a:gd name="T71" fmla="*/ 214 h 512"/>
                <a:gd name="T72" fmla="*/ 192 w 512"/>
                <a:gd name="T73" fmla="*/ 256 h 512"/>
                <a:gd name="T74" fmla="*/ 203 w 512"/>
                <a:gd name="T75" fmla="*/ 267 h 512"/>
                <a:gd name="T76" fmla="*/ 224 w 512"/>
                <a:gd name="T77" fmla="*/ 267 h 512"/>
                <a:gd name="T78" fmla="*/ 224 w 512"/>
                <a:gd name="T79" fmla="*/ 352 h 512"/>
                <a:gd name="T80" fmla="*/ 192 w 512"/>
                <a:gd name="T81" fmla="*/ 352 h 512"/>
                <a:gd name="T82" fmla="*/ 181 w 512"/>
                <a:gd name="T83" fmla="*/ 363 h 512"/>
                <a:gd name="T84" fmla="*/ 181 w 512"/>
                <a:gd name="T85" fmla="*/ 406 h 512"/>
                <a:gd name="T86" fmla="*/ 192 w 512"/>
                <a:gd name="T87" fmla="*/ 416 h 512"/>
                <a:gd name="T88" fmla="*/ 320 w 512"/>
                <a:gd name="T89" fmla="*/ 416 h 512"/>
                <a:gd name="T90" fmla="*/ 331 w 512"/>
                <a:gd name="T91" fmla="*/ 406 h 512"/>
                <a:gd name="T92" fmla="*/ 331 w 512"/>
                <a:gd name="T93" fmla="*/ 36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12" h="512">
                  <a:moveTo>
                    <a:pt x="235" y="139"/>
                  </a:moveTo>
                  <a:cubicBezTo>
                    <a:pt x="235" y="127"/>
                    <a:pt x="244" y="118"/>
                    <a:pt x="256" y="118"/>
                  </a:cubicBezTo>
                  <a:cubicBezTo>
                    <a:pt x="268" y="118"/>
                    <a:pt x="277" y="127"/>
                    <a:pt x="277" y="139"/>
                  </a:cubicBezTo>
                  <a:cubicBezTo>
                    <a:pt x="277" y="151"/>
                    <a:pt x="268" y="160"/>
                    <a:pt x="256" y="160"/>
                  </a:cubicBezTo>
                  <a:cubicBezTo>
                    <a:pt x="244" y="160"/>
                    <a:pt x="235" y="151"/>
                    <a:pt x="235" y="139"/>
                  </a:cubicBezTo>
                  <a:close/>
                  <a:moveTo>
                    <a:pt x="267" y="363"/>
                  </a:moveTo>
                  <a:cubicBezTo>
                    <a:pt x="267" y="224"/>
                    <a:pt x="267" y="224"/>
                    <a:pt x="267" y="224"/>
                  </a:cubicBezTo>
                  <a:cubicBezTo>
                    <a:pt x="213" y="224"/>
                    <a:pt x="213" y="224"/>
                    <a:pt x="213" y="224"/>
                  </a:cubicBezTo>
                  <a:cubicBezTo>
                    <a:pt x="213" y="246"/>
                    <a:pt x="213" y="246"/>
                    <a:pt x="213" y="246"/>
                  </a:cubicBezTo>
                  <a:cubicBezTo>
                    <a:pt x="235" y="246"/>
                    <a:pt x="235" y="246"/>
                    <a:pt x="235" y="246"/>
                  </a:cubicBezTo>
                  <a:cubicBezTo>
                    <a:pt x="241" y="246"/>
                    <a:pt x="245" y="250"/>
                    <a:pt x="245" y="256"/>
                  </a:cubicBezTo>
                  <a:cubicBezTo>
                    <a:pt x="245" y="363"/>
                    <a:pt x="245" y="363"/>
                    <a:pt x="245" y="363"/>
                  </a:cubicBezTo>
                  <a:cubicBezTo>
                    <a:pt x="245" y="369"/>
                    <a:pt x="241" y="374"/>
                    <a:pt x="235" y="374"/>
                  </a:cubicBezTo>
                  <a:cubicBezTo>
                    <a:pt x="203" y="374"/>
                    <a:pt x="203" y="374"/>
                    <a:pt x="203" y="374"/>
                  </a:cubicBezTo>
                  <a:cubicBezTo>
                    <a:pt x="203" y="395"/>
                    <a:pt x="203" y="395"/>
                    <a:pt x="203" y="395"/>
                  </a:cubicBezTo>
                  <a:cubicBezTo>
                    <a:pt x="309" y="395"/>
                    <a:pt x="309" y="395"/>
                    <a:pt x="309" y="395"/>
                  </a:cubicBezTo>
                  <a:cubicBezTo>
                    <a:pt x="309" y="374"/>
                    <a:pt x="309" y="374"/>
                    <a:pt x="309" y="374"/>
                  </a:cubicBezTo>
                  <a:cubicBezTo>
                    <a:pt x="277" y="374"/>
                    <a:pt x="277" y="374"/>
                    <a:pt x="277" y="374"/>
                  </a:cubicBezTo>
                  <a:cubicBezTo>
                    <a:pt x="271" y="374"/>
                    <a:pt x="267" y="369"/>
                    <a:pt x="267" y="363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213" y="139"/>
                  </a:moveTo>
                  <a:cubicBezTo>
                    <a:pt x="213" y="163"/>
                    <a:pt x="232" y="182"/>
                    <a:pt x="256" y="182"/>
                  </a:cubicBezTo>
                  <a:cubicBezTo>
                    <a:pt x="280" y="182"/>
                    <a:pt x="299" y="163"/>
                    <a:pt x="299" y="139"/>
                  </a:cubicBezTo>
                  <a:cubicBezTo>
                    <a:pt x="299" y="115"/>
                    <a:pt x="280" y="96"/>
                    <a:pt x="256" y="96"/>
                  </a:cubicBezTo>
                  <a:cubicBezTo>
                    <a:pt x="232" y="96"/>
                    <a:pt x="213" y="115"/>
                    <a:pt x="213" y="139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288" y="352"/>
                    <a:pt x="288" y="352"/>
                    <a:pt x="288" y="352"/>
                  </a:cubicBezTo>
                  <a:cubicBezTo>
                    <a:pt x="288" y="214"/>
                    <a:pt x="288" y="214"/>
                    <a:pt x="288" y="214"/>
                  </a:cubicBezTo>
                  <a:cubicBezTo>
                    <a:pt x="288" y="208"/>
                    <a:pt x="283" y="203"/>
                    <a:pt x="277" y="203"/>
                  </a:cubicBezTo>
                  <a:cubicBezTo>
                    <a:pt x="203" y="203"/>
                    <a:pt x="203" y="203"/>
                    <a:pt x="203" y="203"/>
                  </a:cubicBezTo>
                  <a:cubicBezTo>
                    <a:pt x="197" y="203"/>
                    <a:pt x="192" y="208"/>
                    <a:pt x="192" y="214"/>
                  </a:cubicBezTo>
                  <a:cubicBezTo>
                    <a:pt x="192" y="256"/>
                    <a:pt x="192" y="256"/>
                    <a:pt x="192" y="256"/>
                  </a:cubicBezTo>
                  <a:cubicBezTo>
                    <a:pt x="192" y="262"/>
                    <a:pt x="197" y="267"/>
                    <a:pt x="203" y="267"/>
                  </a:cubicBezTo>
                  <a:cubicBezTo>
                    <a:pt x="224" y="267"/>
                    <a:pt x="224" y="267"/>
                    <a:pt x="224" y="267"/>
                  </a:cubicBezTo>
                  <a:cubicBezTo>
                    <a:pt x="224" y="352"/>
                    <a:pt x="224" y="352"/>
                    <a:pt x="224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406"/>
                    <a:pt x="181" y="406"/>
                    <a:pt x="181" y="406"/>
                  </a:cubicBezTo>
                  <a:cubicBezTo>
                    <a:pt x="181" y="412"/>
                    <a:pt x="186" y="416"/>
                    <a:pt x="192" y="416"/>
                  </a:cubicBezTo>
                  <a:cubicBezTo>
                    <a:pt x="320" y="416"/>
                    <a:pt x="320" y="416"/>
                    <a:pt x="320" y="416"/>
                  </a:cubicBezTo>
                  <a:cubicBezTo>
                    <a:pt x="326" y="416"/>
                    <a:pt x="331" y="412"/>
                    <a:pt x="331" y="406"/>
                  </a:cubicBezTo>
                  <a:lnTo>
                    <a:pt x="331" y="36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64645">
                <a:defRPr/>
              </a:pPr>
              <a:endParaRPr lang="en-US" sz="1200" dirty="0">
                <a:solidFill>
                  <a:prstClr val="black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37484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1" y="5845182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bg1"/>
                </a:solidFill>
              </a:defRPr>
            </a:lvl1pPr>
            <a:lvl2pPr marL="0" indent="0" algn="l">
              <a:buNone/>
              <a:defRPr sz="1200" b="0">
                <a:solidFill>
                  <a:schemeClr val="bg1"/>
                </a:solidFill>
              </a:defRPr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701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05670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  <p:sp>
        <p:nvSpPr>
          <p:cNvPr id="7" name="Footer Placeholder 12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rgbClr val="FFFFFF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  <p:sp>
        <p:nvSpPr>
          <p:cNvPr id="6" name="Footer Placeholder 12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rgbClr val="FFFFFF"/>
                </a:solidFill>
              </a:defRPr>
            </a:lvl1pPr>
          </a:lstStyle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  <p:sp>
        <p:nvSpPr>
          <p:cNvPr id="6" name="Footer Placeholder 12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rgbClr val="FFFFFF"/>
                </a:solidFill>
              </a:defRPr>
            </a:lvl1pPr>
          </a:lstStyle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0215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dirty="0">
              <a:solidFill>
                <a:prstClr val="white"/>
              </a:solidFill>
            </a:endParaRPr>
          </a:p>
        </p:txBody>
      </p:sp>
      <p:sp>
        <p:nvSpPr>
          <p:cNvPr id="8" name="Footer Placeholder 12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rgbClr val="FFFFFF"/>
                </a:solidFill>
              </a:defRPr>
            </a:lvl1pPr>
          </a:lstStyle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685256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1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Footer Placeholder 12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Footer Placeholder 12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Footer Placeholder 12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75787B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Footer Placeholder 12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2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tx1"/>
                </a:solidFill>
              </a:defRPr>
            </a:lvl1pPr>
            <a:lvl2pPr marL="0" indent="0" algn="l">
              <a:buNone/>
              <a:defRPr sz="1200" b="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701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ctivity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Footer Placeholder 12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68238" y="81887"/>
            <a:ext cx="12037325" cy="6714698"/>
          </a:xfrm>
          <a:prstGeom prst="rect">
            <a:avLst/>
          </a:prstGeom>
          <a:noFill/>
          <a:ln w="158750" algn="ctr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prstClr val="white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165651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_Conten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nip Single Corner Rectangle 5"/>
          <p:cNvSpPr/>
          <p:nvPr userDrawn="1"/>
        </p:nvSpPr>
        <p:spPr>
          <a:xfrm>
            <a:off x="185196" y="172124"/>
            <a:ext cx="11803612" cy="6457279"/>
          </a:xfrm>
          <a:prstGeom prst="snip1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441" tIns="36723" rIns="73441" bIns="36723" anchor="ctr"/>
          <a:lstStyle/>
          <a:p>
            <a:pPr algn="ctr"/>
            <a:endParaRPr lang="en-US" sz="2000" dirty="0">
              <a:solidFill>
                <a:srgbClr val="FFFFFF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4462" y="402588"/>
            <a:ext cx="11167638" cy="692151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629335" y="6407835"/>
            <a:ext cx="1056117" cy="252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FDE6CE5-132B-4432-A695-19B6F7E19CA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554462" y="1142880"/>
            <a:ext cx="11225951" cy="52432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43483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064" y="475488"/>
            <a:ext cx="9420773" cy="6858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3pPr>
              <a:defRPr>
                <a:solidFill>
                  <a:srgbClr val="605B62"/>
                </a:solidFill>
              </a:defRPr>
            </a:lvl3pPr>
            <a:lvl5pPr>
              <a:defRPr>
                <a:solidFill>
                  <a:srgbClr val="605B6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13103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307FF1-2C42-4659-B991-C134B8667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5FCFFD-C883-404F-BE49-F04C88676C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2725F7-5A81-49D5-98EF-CD11C2C53C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F83A582-1EE7-4ABC-BCAE-ECA1DF0E5AE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079F607-950A-4B2F-9CB0-AEFFC53DEDD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58E05C-B024-46F1-9478-5077A5D81B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315632-F82B-4B98-ACA3-AC06F8F8D4D1}" type="datetimeFigureOut">
              <a:rPr lang="en-US" smtClean="0"/>
              <a:t>6/18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1685E6B-0F84-4E2F-A150-C3C6E9BD6A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692093-9F28-447F-8C25-E1ABB00016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27911-5B63-46B1-BA08-40634DFE9F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6135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49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1" y="5845182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701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222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2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701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76115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0215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  <p:sp>
        <p:nvSpPr>
          <p:cNvPr id="8" name="Footer Placeholder 12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rgbClr val="FFFFFF"/>
                </a:solidFill>
              </a:defRPr>
            </a:lvl1pPr>
          </a:lstStyle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05670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  <p:sp>
        <p:nvSpPr>
          <p:cNvPr id="8" name="Footer Placeholder 12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rgbClr val="FFFFFF"/>
                </a:solidFill>
              </a:defRPr>
            </a:lvl1pPr>
          </a:lstStyle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_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nip Single Corner Rectangle 5"/>
          <p:cNvSpPr/>
          <p:nvPr userDrawn="1"/>
        </p:nvSpPr>
        <p:spPr>
          <a:xfrm>
            <a:off x="203208" y="172128"/>
            <a:ext cx="11785600" cy="6457279"/>
          </a:xfrm>
          <a:prstGeom prst="snip1Rect">
            <a:avLst/>
          </a:prstGeom>
          <a:solidFill>
            <a:schemeClr val="bg1"/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441" tIns="36723" rIns="73441" bIns="36723" anchor="ctr"/>
          <a:lstStyle/>
          <a:p>
            <a:pPr algn="ctr"/>
            <a:endParaRPr lang="en-US" sz="1800" dirty="0">
              <a:solidFill>
                <a:srgbClr val="FFFFFF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629336" y="6407835"/>
            <a:ext cx="1056117" cy="252000"/>
          </a:xfrm>
          <a:prstGeom prst="rect">
            <a:avLst/>
          </a:prstGeom>
        </p:spPr>
        <p:txBody>
          <a:bodyPr/>
          <a:lstStyle>
            <a:lvl1pPr algn="r">
              <a:defRPr sz="700"/>
            </a:lvl1pPr>
          </a:lstStyle>
          <a:p>
            <a:pPr>
              <a:defRPr/>
            </a:pPr>
            <a:fld id="{4FDE6CE5-132B-4432-A695-19B6F7E19CA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554465" y="1142880"/>
            <a:ext cx="11225951" cy="52432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11244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70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  <p:sp>
        <p:nvSpPr>
          <p:cNvPr id="10" name="Footer Placeholder 12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rgbClr val="FFFFFF"/>
                </a:solidFill>
              </a:defRPr>
            </a:lvl1pPr>
          </a:lstStyle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05670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  <p:sp>
        <p:nvSpPr>
          <p:cNvPr id="7" name="Footer Placeholder 12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rgbClr val="FFFFFF"/>
                </a:solidFill>
              </a:defRPr>
            </a:lvl1pPr>
          </a:lstStyle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8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4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tx1"/>
              </a:solidFill>
            </a:endParaRPr>
          </a:p>
        </p:txBody>
      </p:sp>
      <p:sp>
        <p:nvSpPr>
          <p:cNvPr id="8" name="Footer Placeholder 12"/>
          <p:cNvSpPr>
            <a:spLocks noGrp="1"/>
          </p:cNvSpPr>
          <p:nvPr>
            <p:ph type="ftr" sz="quarter" idx="3"/>
          </p:nvPr>
        </p:nvSpPr>
        <p:spPr>
          <a:xfrm>
            <a:off x="469900" y="6407834"/>
            <a:ext cx="7459686" cy="267285"/>
          </a:xfrm>
          <a:prstGeom prst="rect">
            <a:avLst/>
          </a:prstGeom>
        </p:spPr>
        <p:txBody>
          <a:bodyPr lIns="0" rIns="0"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custDataLst>
      <p:tags r:id="rId26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56" r:id="rId4"/>
    <p:sldLayoutId id="2147483703" r:id="rId5"/>
    <p:sldLayoutId id="2147483704" r:id="rId6"/>
    <p:sldLayoutId id="2147484258" r:id="rId7"/>
    <p:sldLayoutId id="2147483705" r:id="rId8"/>
    <p:sldLayoutId id="2147483706" r:id="rId9"/>
    <p:sldLayoutId id="2147483707" r:id="rId10"/>
    <p:sldLayoutId id="2147483710" r:id="rId11"/>
    <p:sldLayoutId id="2147483754" r:id="rId12"/>
    <p:sldLayoutId id="2147483913" r:id="rId13"/>
    <p:sldLayoutId id="2147483753" r:id="rId14"/>
    <p:sldLayoutId id="2147483679" r:id="rId15"/>
    <p:sldLayoutId id="2147483678" r:id="rId16"/>
    <p:sldLayoutId id="2147483681" r:id="rId17"/>
    <p:sldLayoutId id="2147483695" r:id="rId18"/>
    <p:sldLayoutId id="2147483696" r:id="rId19"/>
    <p:sldLayoutId id="2147483927" r:id="rId20"/>
    <p:sldLayoutId id="2147484259" r:id="rId21"/>
    <p:sldLayoutId id="2147484334" r:id="rId22"/>
    <p:sldLayoutId id="2147484335" r:id="rId23"/>
  </p:sldLayoutIdLst>
  <p:transition>
    <p:fade/>
  </p:transition>
  <p:hf sldNum="0" hdr="0" dt="0"/>
  <p:txStyles>
    <p:titleStyle>
      <a:lvl1pPr algn="l" defTabSz="914378" rtl="0" eaLnBrk="1" latinLnBrk="0" hangingPunct="1">
        <a:spcBef>
          <a:spcPct val="0"/>
        </a:spcBef>
        <a:buNone/>
        <a:defRPr sz="1500" b="0" i="0" u="none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9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9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396" indent="-176396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9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391" indent="-176396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787" indent="-176396" algn="l" defTabSz="79849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9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7">
          <p15:clr>
            <a:srgbClr val="F26B43"/>
          </p15:clr>
        </p15:guide>
        <p15:guide id="12" pos="1383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3.xm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1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6.xml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7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8.xml"/><Relationship Id="rId4" Type="http://schemas.openxmlformats.org/officeDocument/2006/relationships/image" Target="../media/image7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9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0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1.xml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AAA8F42-A34F-4905-937E-04E13916AA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2410" y="993139"/>
            <a:ext cx="9187180" cy="574198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0662009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BCBA67E-E7F1-4CF4-9857-2176430A33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8161" y="1"/>
            <a:ext cx="7724140" cy="684347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1802462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Supervised Learning</a:t>
            </a:r>
            <a:endParaRPr lang="en-US" sz="3600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449968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35"/>
          <p:cNvSpPr txBox="1"/>
          <p:nvPr/>
        </p:nvSpPr>
        <p:spPr>
          <a:xfrm>
            <a:off x="1389900" y="281384"/>
            <a:ext cx="9415600" cy="9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endParaRPr sz="4000" b="1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96" name="Google Shape;196;p35"/>
          <p:cNvSpPr txBox="1"/>
          <p:nvPr/>
        </p:nvSpPr>
        <p:spPr>
          <a:xfrm>
            <a:off x="650192" y="208440"/>
            <a:ext cx="11360800" cy="81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" sz="3600" b="1" dirty="0">
                <a:latin typeface="+mj-lt"/>
                <a:sym typeface="Roboto"/>
              </a:rPr>
              <a:t>Supervised Learning</a:t>
            </a:r>
            <a:endParaRPr sz="3600" b="1" dirty="0">
              <a:latin typeface="+mj-lt"/>
              <a:sym typeface="Roboto"/>
            </a:endParaRPr>
          </a:p>
        </p:txBody>
      </p:sp>
      <p:sp>
        <p:nvSpPr>
          <p:cNvPr id="197" name="Google Shape;197;p35"/>
          <p:cNvSpPr txBox="1"/>
          <p:nvPr/>
        </p:nvSpPr>
        <p:spPr>
          <a:xfrm>
            <a:off x="415600" y="1181400"/>
            <a:ext cx="11360800" cy="4910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r>
              <a:rPr lang="en" sz="2800" dirty="0">
                <a:sym typeface="Montserrat"/>
              </a:rPr>
              <a:t>Supervised learning algorithms are trained using labeled examples, such as an input where the desired output is known. </a:t>
            </a:r>
          </a:p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r>
              <a:rPr lang="en-US" sz="2800" dirty="0">
                <a:sym typeface="Montserrat"/>
              </a:rPr>
              <a:t>It is commonly used in applications where historical data predicts/classify likely future events. </a:t>
            </a:r>
            <a:endParaRPr sz="2800" dirty="0">
              <a:sym typeface="Montserrat"/>
            </a:endParaRPr>
          </a:p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r>
              <a:rPr lang="en" sz="2800" dirty="0">
                <a:sym typeface="Montserrat"/>
              </a:rPr>
              <a:t>For example, a segment of text could have a category label, such as:</a:t>
            </a:r>
            <a:endParaRPr sz="2800" dirty="0">
              <a:sym typeface="Montserrat"/>
            </a:endParaRPr>
          </a:p>
          <a:p>
            <a:pPr marL="1219170" lvl="1" indent="-524920">
              <a:lnSpc>
                <a:spcPct val="115000"/>
              </a:lnSpc>
              <a:buClr>
                <a:srgbClr val="434343"/>
              </a:buClr>
              <a:buSzPts val="2600"/>
              <a:buFont typeface="Montserrat"/>
              <a:buChar char="○"/>
            </a:pPr>
            <a:r>
              <a:rPr lang="en" sz="2800" dirty="0">
                <a:sym typeface="Montserrat"/>
              </a:rPr>
              <a:t>Spam vs. Legitimate Email</a:t>
            </a:r>
            <a:endParaRPr sz="2800" dirty="0">
              <a:sym typeface="Montserrat"/>
            </a:endParaRPr>
          </a:p>
          <a:p>
            <a:pPr marL="1219170" lvl="1" indent="-524920">
              <a:lnSpc>
                <a:spcPct val="115000"/>
              </a:lnSpc>
              <a:buClr>
                <a:srgbClr val="434343"/>
              </a:buClr>
              <a:buSzPts val="2600"/>
              <a:buFont typeface="Montserrat"/>
              <a:buChar char="○"/>
            </a:pPr>
            <a:r>
              <a:rPr lang="en" sz="2800" dirty="0">
                <a:sym typeface="Montserrat"/>
              </a:rPr>
              <a:t>Positive vs. Negative Movie Review</a:t>
            </a:r>
            <a:endParaRPr lang="en-US" sz="2800" dirty="0">
              <a:sym typeface="Montserrat"/>
            </a:endParaRPr>
          </a:p>
          <a:p>
            <a:pPr marL="694250" lvl="1">
              <a:lnSpc>
                <a:spcPct val="115000"/>
              </a:lnSpc>
              <a:buClr>
                <a:srgbClr val="434343"/>
              </a:buClr>
              <a:buSzPts val="2600"/>
            </a:pPr>
            <a:endParaRPr lang="en" sz="3467" dirty="0">
              <a:solidFill>
                <a:srgbClr val="434343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14350" y="436245"/>
            <a:ext cx="10841038" cy="761135"/>
          </a:xfrm>
        </p:spPr>
        <p:txBody>
          <a:bodyPr>
            <a:normAutofit/>
          </a:bodyPr>
          <a:lstStyle/>
          <a:p>
            <a:pPr defTabSz="1219170">
              <a:spcBef>
                <a:spcPts val="600"/>
              </a:spcBef>
              <a:buSzPct val="100000"/>
            </a:pPr>
            <a:r>
              <a:rPr lang="en-US" sz="3600" b="1" dirty="0">
                <a:ea typeface="+mn-ea"/>
                <a:cs typeface="+mn-cs"/>
              </a:rPr>
              <a:t>Types of Supervised Learning Problem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595312"/>
          </a:xfrm>
          <a:solidFill>
            <a:schemeClr val="tx1"/>
          </a:solidFill>
        </p:spPr>
        <p:txBody>
          <a:bodyPr vert="horz" lIns="0" tIns="0" rIns="0" bIns="0" rtlCol="0" anchor="b">
            <a:no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Classific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Predict whether a given input belongs to one of multiple class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Output is discrete</a:t>
            </a:r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595312"/>
          </a:xfrm>
          <a:solidFill>
            <a:schemeClr val="tx1"/>
          </a:solidFill>
        </p:spPr>
        <p:txBody>
          <a:bodyPr vert="horz" lIns="0" tIns="0" rIns="0" bIns="0" rtlCol="0" anchor="b">
            <a:no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Regressio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Given the input, predict a continuous outpu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Output is continuous</a:t>
            </a:r>
          </a:p>
          <a:p>
            <a:endParaRPr lang="en-US" dirty="0"/>
          </a:p>
        </p:txBody>
      </p:sp>
      <p:pic>
        <p:nvPicPr>
          <p:cNvPr id="12" name="Picture 11" descr="438px-Linear_regression.svg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9585" y="4480560"/>
            <a:ext cx="2866538" cy="2178843"/>
          </a:xfrm>
          <a:prstGeom prst="rect">
            <a:avLst/>
          </a:prstGeom>
          <a:effectLst>
            <a:softEdge rad="12700"/>
          </a:effectLst>
        </p:spPr>
      </p:pic>
      <p:pic>
        <p:nvPicPr>
          <p:cNvPr id="2050" name="Picture 2" descr="Introductory Terms in Machine Learning">
            <a:extLst>
              <a:ext uri="{FF2B5EF4-FFF2-40B4-BE49-F238E27FC236}">
                <a16:creationId xmlns:a16="http://schemas.microsoft.com/office/drawing/2014/main" id="{2E2B9B55-2983-4DB3-A019-934D0AB70E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4800" y="4322286"/>
            <a:ext cx="3013392" cy="2600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52145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14350" y="365125"/>
            <a:ext cx="10841038" cy="1120775"/>
          </a:xfrm>
        </p:spPr>
        <p:txBody>
          <a:bodyPr>
            <a:normAutofit/>
          </a:bodyPr>
          <a:lstStyle/>
          <a:p>
            <a:pPr defTabSz="1219170">
              <a:spcBef>
                <a:spcPts val="600"/>
              </a:spcBef>
              <a:buSzPct val="100000"/>
            </a:pPr>
            <a:r>
              <a:rPr lang="en-US" sz="3600" b="1" dirty="0">
                <a:ea typeface="+mn-ea"/>
                <a:cs typeface="+mn-cs"/>
              </a:rPr>
              <a:t>Supervised Learning Algorithm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595312"/>
          </a:xfrm>
          <a:solidFill>
            <a:schemeClr val="tx1"/>
          </a:solidFill>
        </p:spPr>
        <p:txBody>
          <a:bodyPr vert="horz" lIns="0" tIns="0" rIns="0" bIns="0" rtlCol="0" anchor="b">
            <a:no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Classific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Logistic Regress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Naïve Bay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K-Nearest Neighbor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Decision Tre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Random Fores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Support Vector Machin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595312"/>
          </a:xfrm>
          <a:solidFill>
            <a:schemeClr val="tx1"/>
          </a:solidFill>
        </p:spPr>
        <p:txBody>
          <a:bodyPr vert="horz" lIns="0" tIns="0" rIns="0" bIns="0" rtlCol="0" anchor="b">
            <a:no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Regressio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Linear Regress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Polynomial Regress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Decision Tre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Random Fores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Naïve Bay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Support Vector Machine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0319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35"/>
          <p:cNvSpPr txBox="1"/>
          <p:nvPr/>
        </p:nvSpPr>
        <p:spPr>
          <a:xfrm>
            <a:off x="1389900" y="281384"/>
            <a:ext cx="9415600" cy="9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endParaRPr sz="4000" b="1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96" name="Google Shape;196;p35"/>
          <p:cNvSpPr txBox="1"/>
          <p:nvPr/>
        </p:nvSpPr>
        <p:spPr>
          <a:xfrm>
            <a:off x="629872" y="230584"/>
            <a:ext cx="11360800" cy="77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" sz="3600" b="1" dirty="0">
                <a:latin typeface="+mj-lt"/>
                <a:sym typeface="Roboto"/>
              </a:rPr>
              <a:t>Linear Regression</a:t>
            </a:r>
            <a:endParaRPr sz="3600" b="1" dirty="0">
              <a:latin typeface="+mj-lt"/>
              <a:sym typeface="Roboto"/>
            </a:endParaRPr>
          </a:p>
        </p:txBody>
      </p:sp>
      <p:sp>
        <p:nvSpPr>
          <p:cNvPr id="197" name="Google Shape;197;p35"/>
          <p:cNvSpPr txBox="1"/>
          <p:nvPr/>
        </p:nvSpPr>
        <p:spPr>
          <a:xfrm>
            <a:off x="415600" y="1181400"/>
            <a:ext cx="11360800" cy="4910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r>
              <a:rPr lang="en-US" sz="2800" dirty="0">
                <a:sym typeface="Montserrat"/>
              </a:rPr>
              <a:t>Regression Analysis is one of the most widely used method for prediction.</a:t>
            </a:r>
          </a:p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r>
              <a:rPr lang="en-US" sz="2800" dirty="0">
                <a:sym typeface="Montserrat"/>
              </a:rPr>
              <a:t>A linear regression is a linear approximation of a causal relationship between two or more variables.</a:t>
            </a:r>
          </a:p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r>
              <a:rPr lang="en-US" sz="2800" dirty="0"/>
              <a:t>Central to simple linear regression is the formula for a straight line that is most commonly represented as y = mx + c or y = a + bx . Statisticians however generally prefer to use the following form involving betas: </a:t>
            </a:r>
            <a:endParaRPr lang="en-US" sz="2800" dirty="0">
              <a:sym typeface="Montserrat"/>
            </a:endParaRPr>
          </a:p>
          <a:p>
            <a:pPr marL="694250" lvl="1">
              <a:lnSpc>
                <a:spcPct val="115000"/>
              </a:lnSpc>
              <a:buClr>
                <a:srgbClr val="434343"/>
              </a:buClr>
              <a:buSzPts val="2600"/>
            </a:pPr>
            <a:endParaRPr lang="en" sz="3467" dirty="0">
              <a:solidFill>
                <a:srgbClr val="434343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90FF300-6D56-4C19-896C-7B8A403890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4638" y="5463626"/>
            <a:ext cx="3408533" cy="505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955464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35"/>
          <p:cNvSpPr txBox="1"/>
          <p:nvPr/>
        </p:nvSpPr>
        <p:spPr>
          <a:xfrm>
            <a:off x="1389900" y="281384"/>
            <a:ext cx="9415600" cy="9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endParaRPr sz="4000" b="1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96" name="Google Shape;196;p35"/>
          <p:cNvSpPr txBox="1"/>
          <p:nvPr/>
        </p:nvSpPr>
        <p:spPr>
          <a:xfrm>
            <a:off x="579072" y="310040"/>
            <a:ext cx="11360800" cy="81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" sz="3600" b="1" dirty="0">
                <a:latin typeface="+mj-lt"/>
                <a:sym typeface="Roboto"/>
              </a:rPr>
              <a:t>Linear Regression (</a:t>
            </a:r>
            <a:r>
              <a:rPr lang="en-US" sz="3600" b="1" dirty="0">
                <a:latin typeface="+mj-lt"/>
                <a:sym typeface="Roboto"/>
              </a:rPr>
              <a:t>Continued…)</a:t>
            </a:r>
            <a:endParaRPr sz="3600" b="1" dirty="0">
              <a:latin typeface="+mj-lt"/>
              <a:sym typeface="Roboto"/>
            </a:endParaRPr>
          </a:p>
        </p:txBody>
      </p:sp>
      <p:sp>
        <p:nvSpPr>
          <p:cNvPr id="197" name="Google Shape;197;p35"/>
          <p:cNvSpPr txBox="1"/>
          <p:nvPr/>
        </p:nvSpPr>
        <p:spPr>
          <a:xfrm>
            <a:off x="415600" y="1181400"/>
            <a:ext cx="11360800" cy="4910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694250" lvl="1">
              <a:lnSpc>
                <a:spcPct val="115000"/>
              </a:lnSpc>
              <a:buClr>
                <a:srgbClr val="434343"/>
              </a:buClr>
              <a:buSzPts val="2600"/>
            </a:pPr>
            <a:endParaRPr lang="en" sz="3467" dirty="0">
              <a:solidFill>
                <a:srgbClr val="434343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4A5FC48-8398-4628-8DB2-71A0C8954D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2227" y="1841245"/>
            <a:ext cx="7898765" cy="4419418"/>
          </a:xfrm>
          <a:prstGeom prst="rect">
            <a:avLst/>
          </a:prstGeom>
        </p:spPr>
      </p:pic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713F4C72-686B-46F9-89F0-3D6DA112D320}"/>
              </a:ext>
            </a:extLst>
          </p:cNvPr>
          <p:cNvSpPr txBox="1">
            <a:spLocks/>
          </p:cNvSpPr>
          <p:nvPr/>
        </p:nvSpPr>
        <p:spPr>
          <a:xfrm>
            <a:off x="664658" y="2505075"/>
            <a:ext cx="4688897" cy="246697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A125322B-F6CC-4E7A-AAA7-7CEABB395A30}"/>
              </a:ext>
            </a:extLst>
          </p:cNvPr>
          <p:cNvSpPr txBox="1">
            <a:spLocks/>
          </p:cNvSpPr>
          <p:nvPr/>
        </p:nvSpPr>
        <p:spPr>
          <a:xfrm>
            <a:off x="839788" y="2081384"/>
            <a:ext cx="4884737" cy="3108154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x = independent (or predictor or explanatory) variable</a:t>
            </a:r>
          </a:p>
          <a:p>
            <a:pPr marL="0" indent="0">
              <a:buNone/>
            </a:pPr>
            <a:r>
              <a:rPr lang="en-US" dirty="0"/>
              <a:t>y = dependent (or response) variabl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2437883-A06F-45CE-84F8-616F2D4D49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70688" y="1415501"/>
            <a:ext cx="3408533" cy="505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20344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35"/>
          <p:cNvSpPr txBox="1"/>
          <p:nvPr/>
        </p:nvSpPr>
        <p:spPr>
          <a:xfrm>
            <a:off x="1389900" y="281384"/>
            <a:ext cx="9415600" cy="9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endParaRPr sz="4000" b="1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96" name="Google Shape;196;p35"/>
          <p:cNvSpPr txBox="1"/>
          <p:nvPr/>
        </p:nvSpPr>
        <p:spPr>
          <a:xfrm>
            <a:off x="589232" y="310040"/>
            <a:ext cx="11360800" cy="81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3600" b="1" dirty="0">
                <a:latin typeface="+mj-lt"/>
                <a:sym typeface="Roboto"/>
              </a:rPr>
              <a:t>Linear Regression (Continued…)</a:t>
            </a:r>
          </a:p>
        </p:txBody>
      </p:sp>
      <p:sp>
        <p:nvSpPr>
          <p:cNvPr id="197" name="Google Shape;197;p35"/>
          <p:cNvSpPr txBox="1"/>
          <p:nvPr/>
        </p:nvSpPr>
        <p:spPr>
          <a:xfrm>
            <a:off x="415600" y="1360600"/>
            <a:ext cx="8128960" cy="50360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r>
              <a:rPr lang="en-US" sz="2800" dirty="0">
                <a:sym typeface="Montserrat"/>
              </a:rPr>
              <a:t>Examples of Linear Regression</a:t>
            </a:r>
          </a:p>
          <a:p>
            <a:pPr marL="999065" lvl="1" indent="-457200">
              <a:lnSpc>
                <a:spcPct val="115000"/>
              </a:lnSpc>
              <a:buClr>
                <a:srgbClr val="434343"/>
              </a:buClr>
              <a:buSzPts val="2600"/>
              <a:buFont typeface="Courier New" panose="02070309020205020404" pitchFamily="49" charset="0"/>
              <a:buChar char="o"/>
            </a:pPr>
            <a:r>
              <a:rPr lang="en-US" sz="2800" dirty="0">
                <a:sym typeface="Montserrat"/>
              </a:rPr>
              <a:t>Weight and Height</a:t>
            </a:r>
          </a:p>
          <a:p>
            <a:pPr marL="999065" lvl="1" indent="-457200">
              <a:lnSpc>
                <a:spcPct val="115000"/>
              </a:lnSpc>
              <a:buClr>
                <a:srgbClr val="434343"/>
              </a:buClr>
              <a:buSzPts val="2600"/>
              <a:buFont typeface="Courier New" panose="02070309020205020404" pitchFamily="49" charset="0"/>
              <a:buChar char="o"/>
            </a:pPr>
            <a:r>
              <a:rPr lang="en-US" sz="2800" dirty="0">
                <a:sym typeface="Montserrat"/>
              </a:rPr>
              <a:t>Advertising and Sales</a:t>
            </a:r>
          </a:p>
          <a:p>
            <a:pPr marL="999065" lvl="1" indent="-457200">
              <a:lnSpc>
                <a:spcPct val="115000"/>
              </a:lnSpc>
              <a:buClr>
                <a:srgbClr val="434343"/>
              </a:buClr>
              <a:buSzPts val="2600"/>
              <a:buFont typeface="Courier New" panose="02070309020205020404" pitchFamily="49" charset="0"/>
              <a:buChar char="o"/>
            </a:pPr>
            <a:r>
              <a:rPr lang="en-US" sz="2800" dirty="0">
                <a:sym typeface="Montserrat"/>
              </a:rPr>
              <a:t>Forecasting Revenues and expenses </a:t>
            </a:r>
            <a:endParaRPr lang="en" sz="3467" dirty="0">
              <a:solidFill>
                <a:srgbClr val="434343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1026" name="Picture 2" descr="regression types, regression, regression models">
            <a:extLst>
              <a:ext uri="{FF2B5EF4-FFF2-40B4-BE49-F238E27FC236}">
                <a16:creationId xmlns:a16="http://schemas.microsoft.com/office/drawing/2014/main" id="{C9AACAD3-DA29-4E58-8BB3-3044809D32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8994" y="3429000"/>
            <a:ext cx="5694045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F42454DF-F8BE-4681-8D45-110E5C32826D}"/>
              </a:ext>
            </a:extLst>
          </p:cNvPr>
          <p:cNvGraphicFramePr>
            <a:graphicFrameLocks noGrp="1"/>
          </p:cNvGraphicFramePr>
          <p:nvPr/>
        </p:nvGraphicFramePr>
        <p:xfrm>
          <a:off x="967104" y="4048442"/>
          <a:ext cx="4580256" cy="19357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01379">
                  <a:extLst>
                    <a:ext uri="{9D8B030D-6E8A-4147-A177-3AD203B41FA5}">
                      <a16:colId xmlns:a16="http://schemas.microsoft.com/office/drawing/2014/main" val="819353923"/>
                    </a:ext>
                  </a:extLst>
                </a:gridCol>
                <a:gridCol w="1201379">
                  <a:extLst>
                    <a:ext uri="{9D8B030D-6E8A-4147-A177-3AD203B41FA5}">
                      <a16:colId xmlns:a16="http://schemas.microsoft.com/office/drawing/2014/main" val="3525170890"/>
                    </a:ext>
                  </a:extLst>
                </a:gridCol>
                <a:gridCol w="2177498">
                  <a:extLst>
                    <a:ext uri="{9D8B030D-6E8A-4147-A177-3AD203B41FA5}">
                      <a16:colId xmlns:a16="http://schemas.microsoft.com/office/drawing/2014/main" val="4176216384"/>
                    </a:ext>
                  </a:extLst>
                </a:gridCol>
              </a:tblGrid>
              <a:tr h="32263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Height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Weight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Outcome from LR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350" marB="0" anchor="b"/>
                </a:tc>
                <a:extLst>
                  <a:ext uri="{0D108BD9-81ED-4DB2-BD59-A6C34878D82A}">
                    <a16:rowId xmlns:a16="http://schemas.microsoft.com/office/drawing/2014/main" val="4111724706"/>
                  </a:ext>
                </a:extLst>
              </a:tr>
              <a:tr h="32263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3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4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50.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350" marB="0" anchor="b"/>
                </a:tc>
                <a:extLst>
                  <a:ext uri="{0D108BD9-81ED-4DB2-BD59-A6C34878D82A}">
                    <a16:rowId xmlns:a16="http://schemas.microsoft.com/office/drawing/2014/main" val="2153254603"/>
                  </a:ext>
                </a:extLst>
              </a:tr>
              <a:tr h="32263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3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57.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51.8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350" marB="0" anchor="b"/>
                </a:tc>
                <a:extLst>
                  <a:ext uri="{0D108BD9-81ED-4DB2-BD59-A6C34878D82A}">
                    <a16:rowId xmlns:a16="http://schemas.microsoft.com/office/drawing/2014/main" val="3728382558"/>
                  </a:ext>
                </a:extLst>
              </a:tr>
              <a:tr h="32263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3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4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52.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350" marB="0" anchor="b"/>
                </a:tc>
                <a:extLst>
                  <a:ext uri="{0D108BD9-81ED-4DB2-BD59-A6C34878D82A}">
                    <a16:rowId xmlns:a16="http://schemas.microsoft.com/office/drawing/2014/main" val="1421422952"/>
                  </a:ext>
                </a:extLst>
              </a:tr>
              <a:tr h="32263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3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48.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52.7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350" marB="0" anchor="b"/>
                </a:tc>
                <a:extLst>
                  <a:ext uri="{0D108BD9-81ED-4DB2-BD59-A6C34878D82A}">
                    <a16:rowId xmlns:a16="http://schemas.microsoft.com/office/drawing/2014/main" val="4183569837"/>
                  </a:ext>
                </a:extLst>
              </a:tr>
              <a:tr h="32263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4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52.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54.7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350" marB="0" anchor="b"/>
                </a:tc>
                <a:extLst>
                  <a:ext uri="{0D108BD9-81ED-4DB2-BD59-A6C34878D82A}">
                    <a16:rowId xmlns:a16="http://schemas.microsoft.com/office/drawing/2014/main" val="37706771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6299433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35"/>
          <p:cNvSpPr txBox="1"/>
          <p:nvPr/>
        </p:nvSpPr>
        <p:spPr>
          <a:xfrm>
            <a:off x="1389900" y="281384"/>
            <a:ext cx="9415600" cy="9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endParaRPr sz="4000" b="1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96" name="Google Shape;196;p35"/>
          <p:cNvSpPr txBox="1"/>
          <p:nvPr/>
        </p:nvSpPr>
        <p:spPr>
          <a:xfrm>
            <a:off x="599392" y="279560"/>
            <a:ext cx="11360800" cy="81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3600" b="1" dirty="0">
                <a:latin typeface="+mj-lt"/>
                <a:sym typeface="Roboto"/>
              </a:rPr>
              <a:t>Evaluating Performance</a:t>
            </a:r>
            <a:endParaRPr sz="3600" b="1" dirty="0">
              <a:latin typeface="+mj-lt"/>
              <a:sym typeface="Roboto"/>
            </a:endParaRPr>
          </a:p>
        </p:txBody>
      </p:sp>
      <p:sp>
        <p:nvSpPr>
          <p:cNvPr id="197" name="Google Shape;197;p35"/>
          <p:cNvSpPr txBox="1"/>
          <p:nvPr/>
        </p:nvSpPr>
        <p:spPr>
          <a:xfrm>
            <a:off x="415600" y="1181400"/>
            <a:ext cx="11360800" cy="53952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r>
              <a:rPr lang="en-US" sz="2800" dirty="0">
                <a:sym typeface="Montserrat"/>
              </a:rPr>
              <a:t>Mean Absolute Error (MAE) = 4.14</a:t>
            </a:r>
          </a:p>
          <a:p>
            <a:pPr marL="84665">
              <a:lnSpc>
                <a:spcPct val="115000"/>
              </a:lnSpc>
              <a:buClr>
                <a:srgbClr val="434343"/>
              </a:buClr>
              <a:buSzPts val="2600"/>
            </a:pPr>
            <a:r>
              <a:rPr lang="en-US" sz="2800" dirty="0">
                <a:sym typeface="Montserrat"/>
              </a:rPr>
              <a:t>		</a:t>
            </a:r>
          </a:p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endParaRPr lang="en-US" sz="28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endParaRPr lang="en-US" sz="28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r>
              <a:rPr lang="en-US" sz="2800" dirty="0">
                <a:sym typeface="Montserrat"/>
              </a:rPr>
              <a:t>Mean Squared Error (MSE) = 35.66</a:t>
            </a:r>
          </a:p>
          <a:p>
            <a:pPr marL="84665">
              <a:lnSpc>
                <a:spcPct val="115000"/>
              </a:lnSpc>
              <a:buClr>
                <a:srgbClr val="434343"/>
              </a:buClr>
              <a:buSzPts val="2600"/>
            </a:pPr>
            <a:endParaRPr lang="en-US" sz="28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endParaRPr lang="en-US" sz="28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r>
              <a:rPr lang="en-US" sz="2800" dirty="0">
                <a:sym typeface="Montserrat"/>
              </a:rPr>
              <a:t>Root Mean Square Error (RMSE) = 5.97</a:t>
            </a:r>
          </a:p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endParaRPr lang="en" sz="3467" dirty="0">
              <a:solidFill>
                <a:srgbClr val="434343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6" name="Google Shape;1248;p115" descr="Screen Shot 2017-05-01 at 11.04.18 AM.png">
            <a:extLst>
              <a:ext uri="{FF2B5EF4-FFF2-40B4-BE49-F238E27FC236}">
                <a16:creationId xmlns:a16="http://schemas.microsoft.com/office/drawing/2014/main" id="{8E079C78-4B6B-473C-8CB6-518F85234BFF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607300" y="1991800"/>
            <a:ext cx="5186449" cy="884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1286;p119" descr="Screen Shot 2017-05-01 at 11.04.25 AM.png">
            <a:extLst>
              <a:ext uri="{FF2B5EF4-FFF2-40B4-BE49-F238E27FC236}">
                <a16:creationId xmlns:a16="http://schemas.microsoft.com/office/drawing/2014/main" id="{91F52180-9FE5-42EA-A8A0-110CE3166DF7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2762250" y="3826652"/>
            <a:ext cx="4856751" cy="989599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Google Shape;1295;p120" descr="Screen Shot 2017-05-01 at 11.04.31 AM.png">
            <a:extLst>
              <a:ext uri="{FF2B5EF4-FFF2-40B4-BE49-F238E27FC236}">
                <a16:creationId xmlns:a16="http://schemas.microsoft.com/office/drawing/2014/main" id="{990F2338-8EEA-462F-A18B-3FD9FEE7988A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2462173" y="5405863"/>
            <a:ext cx="5743402" cy="11587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46296465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Unsupervised Learning</a:t>
            </a:r>
            <a:endParaRPr lang="en-US" sz="3600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7389299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What is Machine Learning?</a:t>
            </a:r>
            <a:endParaRPr lang="en-US" sz="3200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4452088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35"/>
          <p:cNvSpPr txBox="1"/>
          <p:nvPr/>
        </p:nvSpPr>
        <p:spPr>
          <a:xfrm>
            <a:off x="1389900" y="281384"/>
            <a:ext cx="9415600" cy="9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endParaRPr sz="4000" b="1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96" name="Google Shape;196;p35"/>
          <p:cNvSpPr txBox="1"/>
          <p:nvPr/>
        </p:nvSpPr>
        <p:spPr>
          <a:xfrm>
            <a:off x="650192" y="208440"/>
            <a:ext cx="11360800" cy="81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3600" b="1" dirty="0" err="1">
                <a:latin typeface="+mj-lt"/>
                <a:sym typeface="Roboto"/>
              </a:rPr>
              <a:t>Uns</a:t>
            </a:r>
            <a:r>
              <a:rPr lang="en" sz="3600" b="1" dirty="0">
                <a:latin typeface="+mj-lt"/>
                <a:sym typeface="Roboto"/>
              </a:rPr>
              <a:t>upervised Learning</a:t>
            </a:r>
            <a:endParaRPr sz="3600" b="1" dirty="0">
              <a:latin typeface="+mj-lt"/>
              <a:sym typeface="Roboto"/>
            </a:endParaRPr>
          </a:p>
        </p:txBody>
      </p:sp>
      <p:sp>
        <p:nvSpPr>
          <p:cNvPr id="197" name="Google Shape;197;p35"/>
          <p:cNvSpPr txBox="1"/>
          <p:nvPr/>
        </p:nvSpPr>
        <p:spPr>
          <a:xfrm>
            <a:off x="415600" y="1181400"/>
            <a:ext cx="11360800" cy="4910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r>
              <a:rPr lang="en-US" dirty="0" err="1">
                <a:sym typeface="Montserrat"/>
              </a:rPr>
              <a:t>Uns</a:t>
            </a:r>
            <a:r>
              <a:rPr lang="en" dirty="0">
                <a:sym typeface="Montserrat"/>
              </a:rPr>
              <a:t>upervised learning </a:t>
            </a:r>
            <a:r>
              <a:rPr lang="en-US" dirty="0">
                <a:sym typeface="Montserrat"/>
              </a:rPr>
              <a:t>is used where the data is not labeled and requires segregation based on a hidden feature</a:t>
            </a:r>
            <a:r>
              <a:rPr lang="en" dirty="0">
                <a:sym typeface="Montserrat"/>
              </a:rPr>
              <a:t>. </a:t>
            </a:r>
          </a:p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r>
              <a:rPr lang="en-US" dirty="0">
                <a:sym typeface="Montserrat"/>
              </a:rPr>
              <a:t>It is commonly used in applications where machine tries to identify patterns and accordingly determine a response. </a:t>
            </a:r>
            <a:endParaRPr dirty="0">
              <a:sym typeface="Montserrat"/>
            </a:endParaRPr>
          </a:p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r>
              <a:rPr lang="en" dirty="0">
                <a:sym typeface="Montserrat"/>
              </a:rPr>
              <a:t>For example, based on the historical data, </a:t>
            </a:r>
            <a:r>
              <a:rPr lang="en-US" dirty="0">
                <a:sym typeface="Montserrat"/>
              </a:rPr>
              <a:t>unsupervised learning can help with</a:t>
            </a:r>
            <a:r>
              <a:rPr lang="en" dirty="0">
                <a:sym typeface="Montserrat"/>
              </a:rPr>
              <a:t>:</a:t>
            </a:r>
            <a:endParaRPr dirty="0">
              <a:sym typeface="Montserrat"/>
            </a:endParaRPr>
          </a:p>
          <a:p>
            <a:pPr marL="1219170" lvl="1" indent="-524920">
              <a:lnSpc>
                <a:spcPct val="115000"/>
              </a:lnSpc>
              <a:buClr>
                <a:srgbClr val="434343"/>
              </a:buClr>
              <a:buSzPts val="2600"/>
              <a:buFont typeface="Montserrat"/>
              <a:buChar char="○"/>
            </a:pPr>
            <a:r>
              <a:rPr lang="en-US" dirty="0">
                <a:sym typeface="Montserrat"/>
              </a:rPr>
              <a:t>Recommending movies based on viewing patterns.</a:t>
            </a:r>
            <a:endParaRPr dirty="0">
              <a:sym typeface="Montserrat"/>
            </a:endParaRPr>
          </a:p>
          <a:p>
            <a:pPr marL="1219170" lvl="1" indent="-524920">
              <a:lnSpc>
                <a:spcPct val="115000"/>
              </a:lnSpc>
              <a:buClr>
                <a:srgbClr val="434343"/>
              </a:buClr>
              <a:buSzPts val="2600"/>
              <a:buFont typeface="Montserrat"/>
              <a:buChar char="○"/>
            </a:pPr>
            <a:r>
              <a:rPr lang="en-US" dirty="0">
                <a:sym typeface="Montserrat"/>
              </a:rPr>
              <a:t>Likelihood of a product being sold along with some other product.</a:t>
            </a:r>
          </a:p>
          <a:p>
            <a:pPr marL="694250" lvl="1">
              <a:lnSpc>
                <a:spcPct val="115000"/>
              </a:lnSpc>
              <a:buClr>
                <a:srgbClr val="434343"/>
              </a:buClr>
              <a:buSzPts val="2600"/>
            </a:pPr>
            <a:endParaRPr lang="en" dirty="0">
              <a:solidFill>
                <a:srgbClr val="434343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1498093672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14350" y="436245"/>
            <a:ext cx="10841038" cy="761135"/>
          </a:xfrm>
        </p:spPr>
        <p:txBody>
          <a:bodyPr>
            <a:normAutofit/>
          </a:bodyPr>
          <a:lstStyle/>
          <a:p>
            <a:pPr defTabSz="1219170">
              <a:spcBef>
                <a:spcPts val="600"/>
              </a:spcBef>
              <a:buSzPct val="100000"/>
            </a:pPr>
            <a:r>
              <a:rPr lang="en-US" sz="3600" b="1" dirty="0">
                <a:ea typeface="+mn-ea"/>
                <a:cs typeface="+mn-cs"/>
              </a:rPr>
              <a:t>Types of Unsupervised Learning Problem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595312"/>
          </a:xfrm>
          <a:solidFill>
            <a:schemeClr val="tx1"/>
          </a:solidFill>
        </p:spPr>
        <p:txBody>
          <a:bodyPr vert="horz" lIns="0" tIns="0" rIns="0" bIns="0" rtlCol="0" anchor="b">
            <a:no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Classific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Group the data points based on similaritie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/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595312"/>
          </a:xfrm>
          <a:solidFill>
            <a:schemeClr val="tx1"/>
          </a:solidFill>
        </p:spPr>
        <p:txBody>
          <a:bodyPr vert="horz" lIns="0" tIns="0" rIns="0" bIns="0" rtlCol="0" anchor="b">
            <a:no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Associatio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Identify relationships amongst data objects in data set.</a:t>
            </a:r>
          </a:p>
          <a:p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5FF913C-FEAF-4DDF-9466-CD5B4B2B9D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612" y="3501427"/>
            <a:ext cx="4735513" cy="2799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73BC476-164D-49E0-A947-1542F23565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67210" y="3780870"/>
            <a:ext cx="5524979" cy="2240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3870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14350" y="365125"/>
            <a:ext cx="10841038" cy="1120775"/>
          </a:xfrm>
        </p:spPr>
        <p:txBody>
          <a:bodyPr>
            <a:normAutofit/>
          </a:bodyPr>
          <a:lstStyle/>
          <a:p>
            <a:pPr defTabSz="1219170">
              <a:spcBef>
                <a:spcPts val="600"/>
              </a:spcBef>
              <a:buSzPct val="100000"/>
            </a:pPr>
            <a:r>
              <a:rPr lang="en-US" sz="3600" b="1" dirty="0">
                <a:ea typeface="+mn-ea"/>
                <a:cs typeface="+mn-cs"/>
              </a:rPr>
              <a:t>Unsupervised Learning Algorithm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595312"/>
          </a:xfrm>
          <a:solidFill>
            <a:schemeClr val="tx1"/>
          </a:solidFill>
        </p:spPr>
        <p:txBody>
          <a:bodyPr vert="horz" lIns="0" tIns="0" rIns="0" bIns="0" rtlCol="0" anchor="b">
            <a:no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Classific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K-Mea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K-Media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Hierarchical Cluster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Expectation Maximization Algorithm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595312"/>
          </a:xfrm>
          <a:solidFill>
            <a:schemeClr val="tx1"/>
          </a:solidFill>
        </p:spPr>
        <p:txBody>
          <a:bodyPr vert="horz" lIns="0" tIns="0" rIns="0" bIns="0" rtlCol="0" anchor="b">
            <a:no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Associatio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err="1"/>
              <a:t>Apriori</a:t>
            </a:r>
            <a:r>
              <a:rPr lang="en-US" sz="2800" dirty="0"/>
              <a:t> Algorithm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Eclat Algorithm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62581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35"/>
          <p:cNvSpPr txBox="1"/>
          <p:nvPr/>
        </p:nvSpPr>
        <p:spPr>
          <a:xfrm>
            <a:off x="1389900" y="281384"/>
            <a:ext cx="9415600" cy="9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endParaRPr sz="4000" b="1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96" name="Google Shape;196;p35"/>
          <p:cNvSpPr txBox="1"/>
          <p:nvPr/>
        </p:nvSpPr>
        <p:spPr>
          <a:xfrm>
            <a:off x="629872" y="230584"/>
            <a:ext cx="11360800" cy="77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" sz="3600" b="1" dirty="0">
                <a:latin typeface="+mj-lt"/>
                <a:sym typeface="Roboto"/>
              </a:rPr>
              <a:t>K-Means Clustering</a:t>
            </a:r>
            <a:endParaRPr sz="3600" b="1" dirty="0">
              <a:latin typeface="+mj-lt"/>
              <a:sym typeface="Roboto"/>
            </a:endParaRPr>
          </a:p>
        </p:txBody>
      </p:sp>
      <p:sp>
        <p:nvSpPr>
          <p:cNvPr id="197" name="Google Shape;197;p35"/>
          <p:cNvSpPr txBox="1"/>
          <p:nvPr/>
        </p:nvSpPr>
        <p:spPr>
          <a:xfrm>
            <a:off x="415600" y="1181400"/>
            <a:ext cx="11360800" cy="4910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r>
              <a:rPr lang="en-US" sz="2800" dirty="0">
                <a:sym typeface="Montserrat"/>
              </a:rPr>
              <a:t>Assume the number of clusters(k-value) and define k initial centroids.</a:t>
            </a:r>
          </a:p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r>
              <a:rPr lang="en-US" sz="2800" dirty="0">
                <a:sym typeface="Montserrat"/>
              </a:rPr>
              <a:t>Assign each instance in data set to the cluster centroid closest to it.</a:t>
            </a:r>
          </a:p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r>
              <a:rPr lang="en-US" sz="2800" dirty="0">
                <a:sym typeface="Montserrat"/>
              </a:rPr>
              <a:t>Move each of the k centroids to the average of all the instances that were assigned to that cluster centroid</a:t>
            </a:r>
          </a:p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r>
              <a:rPr lang="en-US" sz="2800" dirty="0"/>
              <a:t>Repeat until centroids stop changing.</a:t>
            </a:r>
            <a:endParaRPr lang="en-US" sz="2800" dirty="0">
              <a:sym typeface="Montserrat"/>
            </a:endParaRPr>
          </a:p>
          <a:p>
            <a:pPr marL="694250" lvl="1">
              <a:lnSpc>
                <a:spcPct val="115000"/>
              </a:lnSpc>
              <a:buClr>
                <a:srgbClr val="434343"/>
              </a:buClr>
              <a:buSzPts val="2600"/>
            </a:pPr>
            <a:endParaRPr lang="en" sz="3467" dirty="0">
              <a:solidFill>
                <a:srgbClr val="434343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901555261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35"/>
          <p:cNvSpPr txBox="1"/>
          <p:nvPr/>
        </p:nvSpPr>
        <p:spPr>
          <a:xfrm>
            <a:off x="1389900" y="281384"/>
            <a:ext cx="9415600" cy="9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endParaRPr sz="4000" b="1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96" name="Google Shape;196;p35"/>
          <p:cNvSpPr txBox="1"/>
          <p:nvPr/>
        </p:nvSpPr>
        <p:spPr>
          <a:xfrm>
            <a:off x="629872" y="230584"/>
            <a:ext cx="11360800" cy="77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" sz="3600" b="1" dirty="0">
                <a:latin typeface="+mj-lt"/>
                <a:sym typeface="Roboto"/>
              </a:rPr>
              <a:t>K-Means Clustering(</a:t>
            </a:r>
            <a:r>
              <a:rPr lang="en-US" sz="3600" b="1" dirty="0">
                <a:latin typeface="+mj-lt"/>
                <a:sym typeface="Roboto"/>
              </a:rPr>
              <a:t>Example)</a:t>
            </a:r>
            <a:endParaRPr sz="3600" b="1" dirty="0">
              <a:latin typeface="+mj-lt"/>
              <a:sym typeface="Roboto"/>
            </a:endParaRPr>
          </a:p>
        </p:txBody>
      </p:sp>
      <p:sp>
        <p:nvSpPr>
          <p:cNvPr id="7" name="Google Shape;197;p35">
            <a:extLst>
              <a:ext uri="{FF2B5EF4-FFF2-40B4-BE49-F238E27FC236}">
                <a16:creationId xmlns:a16="http://schemas.microsoft.com/office/drawing/2014/main" id="{1290227B-E8E8-4D4B-88AB-743A3D9B2FBA}"/>
              </a:ext>
            </a:extLst>
          </p:cNvPr>
          <p:cNvSpPr txBox="1"/>
          <p:nvPr/>
        </p:nvSpPr>
        <p:spPr>
          <a:xfrm>
            <a:off x="415600" y="1181401"/>
            <a:ext cx="11575072" cy="1487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84665">
              <a:lnSpc>
                <a:spcPct val="115000"/>
              </a:lnSpc>
              <a:buClr>
                <a:srgbClr val="434343"/>
              </a:buClr>
              <a:buSzPts val="2600"/>
            </a:pPr>
            <a:r>
              <a:rPr lang="en-US" sz="2800" dirty="0">
                <a:sym typeface="Montserrat"/>
              </a:rPr>
              <a:t>In this example we would be identifying the IRIS flower based on the features namely petal length and petal width.</a:t>
            </a:r>
            <a:endParaRPr lang="en" sz="3467" dirty="0">
              <a:solidFill>
                <a:srgbClr val="434343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2052" name="Picture 4" descr="Machine learning-Iris classification - Jebaseelan Ravi - Medium">
            <a:extLst>
              <a:ext uri="{FF2B5EF4-FFF2-40B4-BE49-F238E27FC236}">
                <a16:creationId xmlns:a16="http://schemas.microsoft.com/office/drawing/2014/main" id="{9F261019-6313-403D-AC28-3153CC9C87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2127" y="2430767"/>
            <a:ext cx="3948545" cy="1183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AB903BB0-E058-4A52-88E4-4638AB015A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924" y="2233355"/>
            <a:ext cx="7609900" cy="4250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4150151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35"/>
          <p:cNvSpPr txBox="1"/>
          <p:nvPr/>
        </p:nvSpPr>
        <p:spPr>
          <a:xfrm>
            <a:off x="1389900" y="281384"/>
            <a:ext cx="9415600" cy="9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endParaRPr sz="4000" b="1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96" name="Google Shape;196;p35"/>
          <p:cNvSpPr txBox="1"/>
          <p:nvPr/>
        </p:nvSpPr>
        <p:spPr>
          <a:xfrm>
            <a:off x="629872" y="230584"/>
            <a:ext cx="11360800" cy="77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" sz="3600" b="1" dirty="0">
                <a:latin typeface="+mj-lt"/>
                <a:sym typeface="Roboto"/>
              </a:rPr>
              <a:t>K-Means Clustering(</a:t>
            </a:r>
            <a:r>
              <a:rPr lang="en-US" sz="3600" b="1" dirty="0">
                <a:latin typeface="+mj-lt"/>
                <a:sym typeface="Roboto"/>
              </a:rPr>
              <a:t>Example)</a:t>
            </a:r>
            <a:endParaRPr sz="3600" b="1" dirty="0">
              <a:latin typeface="+mj-lt"/>
              <a:sym typeface="Roboto"/>
            </a:endParaRPr>
          </a:p>
        </p:txBody>
      </p:sp>
      <p:sp>
        <p:nvSpPr>
          <p:cNvPr id="7" name="Google Shape;197;p35">
            <a:extLst>
              <a:ext uri="{FF2B5EF4-FFF2-40B4-BE49-F238E27FC236}">
                <a16:creationId xmlns:a16="http://schemas.microsoft.com/office/drawing/2014/main" id="{1290227B-E8E8-4D4B-88AB-743A3D9B2FBA}"/>
              </a:ext>
            </a:extLst>
          </p:cNvPr>
          <p:cNvSpPr txBox="1"/>
          <p:nvPr/>
        </p:nvSpPr>
        <p:spPr>
          <a:xfrm>
            <a:off x="415600" y="1181401"/>
            <a:ext cx="11575072" cy="1487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84665">
              <a:lnSpc>
                <a:spcPct val="115000"/>
              </a:lnSpc>
              <a:buClr>
                <a:srgbClr val="434343"/>
              </a:buClr>
              <a:buSzPts val="2600"/>
            </a:pPr>
            <a:r>
              <a:rPr lang="en-US" sz="2800" dirty="0">
                <a:solidFill>
                  <a:srgbClr val="434343"/>
                </a:solidFill>
                <a:latin typeface="Montserrat"/>
                <a:ea typeface="Montserrat"/>
                <a:cs typeface="Montserrat"/>
                <a:sym typeface="Montserrat"/>
              </a:rPr>
              <a:t>At first iteration we are able to segregate different types based on the petal length and petal width, however, there is an overlap between 2 clusters</a:t>
            </a:r>
            <a:endParaRPr lang="en" sz="3467" dirty="0">
              <a:solidFill>
                <a:srgbClr val="434343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2052" name="Picture 4" descr="Machine learning-Iris classification - Jebaseelan Ravi - Medium">
            <a:extLst>
              <a:ext uri="{FF2B5EF4-FFF2-40B4-BE49-F238E27FC236}">
                <a16:creationId xmlns:a16="http://schemas.microsoft.com/office/drawing/2014/main" id="{9F261019-6313-403D-AC28-3153CC9C87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2127" y="2464016"/>
            <a:ext cx="3948545" cy="1183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53964A9A-334E-487D-97BE-9F1C817FD4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872" y="2272146"/>
            <a:ext cx="7333721" cy="4096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7042216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35"/>
          <p:cNvSpPr txBox="1"/>
          <p:nvPr/>
        </p:nvSpPr>
        <p:spPr>
          <a:xfrm>
            <a:off x="1389900" y="281384"/>
            <a:ext cx="9415600" cy="9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endParaRPr sz="4000" b="1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96" name="Google Shape;196;p35"/>
          <p:cNvSpPr txBox="1"/>
          <p:nvPr/>
        </p:nvSpPr>
        <p:spPr>
          <a:xfrm>
            <a:off x="629872" y="230584"/>
            <a:ext cx="11360800" cy="77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" sz="3600" b="1" dirty="0">
                <a:latin typeface="+mj-lt"/>
                <a:sym typeface="Roboto"/>
              </a:rPr>
              <a:t>K-Means Clustering(</a:t>
            </a:r>
            <a:r>
              <a:rPr lang="en-US" sz="3600" b="1" dirty="0">
                <a:latin typeface="+mj-lt"/>
                <a:sym typeface="Roboto"/>
              </a:rPr>
              <a:t>Example)</a:t>
            </a:r>
            <a:endParaRPr sz="3600" b="1" dirty="0">
              <a:latin typeface="+mj-lt"/>
              <a:sym typeface="Roboto"/>
            </a:endParaRPr>
          </a:p>
        </p:txBody>
      </p:sp>
      <p:sp>
        <p:nvSpPr>
          <p:cNvPr id="7" name="Google Shape;197;p35">
            <a:extLst>
              <a:ext uri="{FF2B5EF4-FFF2-40B4-BE49-F238E27FC236}">
                <a16:creationId xmlns:a16="http://schemas.microsoft.com/office/drawing/2014/main" id="{1290227B-E8E8-4D4B-88AB-743A3D9B2FBA}"/>
              </a:ext>
            </a:extLst>
          </p:cNvPr>
          <p:cNvSpPr txBox="1"/>
          <p:nvPr/>
        </p:nvSpPr>
        <p:spPr>
          <a:xfrm>
            <a:off x="415600" y="1181401"/>
            <a:ext cx="11575072" cy="1487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84665">
              <a:lnSpc>
                <a:spcPct val="115000"/>
              </a:lnSpc>
              <a:buClr>
                <a:srgbClr val="434343"/>
              </a:buClr>
              <a:buSzPts val="2600"/>
            </a:pPr>
            <a:r>
              <a:rPr lang="en-US" sz="2800" dirty="0">
                <a:solidFill>
                  <a:srgbClr val="434343"/>
                </a:solidFill>
                <a:latin typeface="Montserrat"/>
                <a:ea typeface="Montserrat"/>
                <a:cs typeface="Montserrat"/>
                <a:sym typeface="Montserrat"/>
              </a:rPr>
              <a:t>After multiple iterations(once the centroids stop changing), the data is classified accurately into 3 different type of IRIS flower.  </a:t>
            </a:r>
            <a:endParaRPr lang="en" sz="3467" dirty="0">
              <a:solidFill>
                <a:srgbClr val="434343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2052" name="Picture 4" descr="Machine learning-Iris classification - Jebaseelan Ravi - Medium">
            <a:extLst>
              <a:ext uri="{FF2B5EF4-FFF2-40B4-BE49-F238E27FC236}">
                <a16:creationId xmlns:a16="http://schemas.microsoft.com/office/drawing/2014/main" id="{9F261019-6313-403D-AC28-3153CC9C87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2127" y="2464016"/>
            <a:ext cx="3948545" cy="1183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1A8388-3EC4-4BD1-A647-280C4BDD78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9414" y="2396860"/>
            <a:ext cx="7504550" cy="4193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995470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noProof="0" dirty="0"/>
              <a:t>Under</a:t>
            </a:r>
            <a:r>
              <a:rPr lang="en-US" sz="3600" dirty="0"/>
              <a:t>fitting and Overfitting</a:t>
            </a:r>
            <a:endParaRPr lang="en-US" sz="3600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32804366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1" name="Google Shape;601;p59"/>
          <p:cNvSpPr txBox="1"/>
          <p:nvPr/>
        </p:nvSpPr>
        <p:spPr>
          <a:xfrm>
            <a:off x="568325" y="283924"/>
            <a:ext cx="9424375" cy="7758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3600" b="1" dirty="0">
                <a:latin typeface="+mj-lt"/>
                <a:sym typeface="Roboto"/>
              </a:rPr>
              <a:t>Underfitting</a:t>
            </a:r>
          </a:p>
        </p:txBody>
      </p:sp>
      <p:sp>
        <p:nvSpPr>
          <p:cNvPr id="604" name="Google Shape;604;p59"/>
          <p:cNvSpPr txBox="1"/>
          <p:nvPr/>
        </p:nvSpPr>
        <p:spPr>
          <a:xfrm>
            <a:off x="415600" y="1171575"/>
            <a:ext cx="11360800" cy="4920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r>
              <a:rPr lang="en-US" sz="2800" dirty="0">
                <a:sym typeface="Montserrat"/>
              </a:rPr>
              <a:t>Model does not capture the underlying trend of the data and does not fit the data well enough.</a:t>
            </a:r>
          </a:p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r>
              <a:rPr lang="en-US" sz="2800" dirty="0">
                <a:sym typeface="Montserrat"/>
              </a:rPr>
              <a:t>Low variance but high bias.</a:t>
            </a:r>
          </a:p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r>
              <a:rPr lang="en-US" sz="2800" dirty="0">
                <a:sym typeface="Montserrat"/>
              </a:rPr>
              <a:t>It is often a result of an excessively simple model.</a:t>
            </a:r>
          </a:p>
          <a:p>
            <a:pPr marL="84665">
              <a:lnSpc>
                <a:spcPct val="115000"/>
              </a:lnSpc>
              <a:buClr>
                <a:srgbClr val="434343"/>
              </a:buClr>
              <a:buSzPts val="2600"/>
            </a:pPr>
            <a:endParaRPr lang="en-US" sz="3467" b="1" dirty="0">
              <a:solidFill>
                <a:srgbClr val="434343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BFF546A-B807-4B11-A765-62EE4E6EA1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8987" y="3803968"/>
            <a:ext cx="4924425" cy="3054032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1" name="Google Shape;601;p59"/>
          <p:cNvSpPr txBox="1"/>
          <p:nvPr/>
        </p:nvSpPr>
        <p:spPr>
          <a:xfrm>
            <a:off x="558165" y="273764"/>
            <a:ext cx="9424375" cy="7758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3600" b="1" dirty="0">
                <a:latin typeface="+mj-lt"/>
                <a:sym typeface="Roboto"/>
              </a:rPr>
              <a:t>Overfitting</a:t>
            </a:r>
          </a:p>
        </p:txBody>
      </p:sp>
      <p:sp>
        <p:nvSpPr>
          <p:cNvPr id="604" name="Google Shape;604;p59"/>
          <p:cNvSpPr txBox="1"/>
          <p:nvPr/>
        </p:nvSpPr>
        <p:spPr>
          <a:xfrm>
            <a:off x="415600" y="1171575"/>
            <a:ext cx="11360800" cy="4920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r>
              <a:rPr lang="en" sz="2800" dirty="0">
                <a:sym typeface="Montserrat"/>
              </a:rPr>
              <a:t>The model fits too much to the noise from the data </a:t>
            </a:r>
            <a:r>
              <a:rPr lang="en-US" sz="2800" dirty="0">
                <a:sym typeface="Montserrat"/>
              </a:rPr>
              <a:t>Low variance but high bias.</a:t>
            </a:r>
          </a:p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r>
              <a:rPr lang="en-US" sz="2800" dirty="0">
                <a:sym typeface="Montserrat"/>
              </a:rPr>
              <a:t>This often results in low error on training sets but high error on test/validation sets.</a:t>
            </a:r>
          </a:p>
          <a:p>
            <a:pPr marL="84665">
              <a:lnSpc>
                <a:spcPct val="115000"/>
              </a:lnSpc>
              <a:buClr>
                <a:srgbClr val="434343"/>
              </a:buClr>
              <a:buSzPts val="2600"/>
            </a:pPr>
            <a:endParaRPr lang="en-US" sz="3467" b="1" dirty="0">
              <a:solidFill>
                <a:srgbClr val="434343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59A4D53-AC11-4935-8A68-BCE6902743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5162" y="3781624"/>
            <a:ext cx="5267325" cy="308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47860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istory of Machine learning</a:t>
            </a:r>
          </a:p>
        </p:txBody>
      </p:sp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86E17A5A-F293-41BA-919E-6F9A231354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9900" y="918898"/>
            <a:ext cx="10251345" cy="576638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5563ECF-91F3-411B-A48C-A765005619A4}"/>
              </a:ext>
            </a:extLst>
          </p:cNvPr>
          <p:cNvSpPr/>
          <p:nvPr/>
        </p:nvSpPr>
        <p:spPr bwMode="gray">
          <a:xfrm>
            <a:off x="8757920" y="736689"/>
            <a:ext cx="2875280" cy="1315631"/>
          </a:xfrm>
          <a:prstGeom prst="rect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02718000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1" name="Google Shape;601;p59"/>
          <p:cNvSpPr txBox="1"/>
          <p:nvPr/>
        </p:nvSpPr>
        <p:spPr>
          <a:xfrm>
            <a:off x="537845" y="294084"/>
            <a:ext cx="9424375" cy="7758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3600" b="1" dirty="0">
                <a:latin typeface="+mj-lt"/>
                <a:sym typeface="Roboto"/>
              </a:rPr>
              <a:t>Good Model</a:t>
            </a:r>
          </a:p>
        </p:txBody>
      </p:sp>
      <p:sp>
        <p:nvSpPr>
          <p:cNvPr id="604" name="Google Shape;604;p59"/>
          <p:cNvSpPr txBox="1"/>
          <p:nvPr/>
        </p:nvSpPr>
        <p:spPr>
          <a:xfrm>
            <a:off x="415600" y="1171575"/>
            <a:ext cx="11360800" cy="4920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r>
              <a:rPr lang="en-US" sz="2800" dirty="0">
                <a:sym typeface="Montserrat"/>
              </a:rPr>
              <a:t>Captures the underlying logic of the dataset</a:t>
            </a:r>
          </a:p>
          <a:p>
            <a:pPr marL="609585" indent="-524920">
              <a:lnSpc>
                <a:spcPct val="115000"/>
              </a:lnSpc>
              <a:buClr>
                <a:srgbClr val="434343"/>
              </a:buClr>
              <a:buSzPts val="2600"/>
              <a:buFont typeface="Arial"/>
              <a:buChar char="●"/>
            </a:pPr>
            <a:r>
              <a:rPr lang="en-US" sz="2800" dirty="0">
                <a:sym typeface="Montserrat"/>
              </a:rPr>
              <a:t>Low Bias and Low Variance</a:t>
            </a:r>
          </a:p>
          <a:p>
            <a:pPr marL="84665">
              <a:lnSpc>
                <a:spcPct val="115000"/>
              </a:lnSpc>
              <a:buClr>
                <a:srgbClr val="434343"/>
              </a:buClr>
              <a:buSzPts val="2600"/>
            </a:pPr>
            <a:endParaRPr lang="en-US" sz="3467" b="1" dirty="0">
              <a:solidFill>
                <a:srgbClr val="434343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BE16500-C5B5-41F4-A18B-4E7C3CF237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9625" y="2928937"/>
            <a:ext cx="4991100" cy="30384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5968814-772A-4494-9FAC-5E143CD333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00725" y="2928937"/>
            <a:ext cx="5086350" cy="30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56717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 of Machine Learning</a:t>
            </a:r>
            <a:br>
              <a:rPr lang="en-US" b="1" dirty="0"/>
            </a:br>
            <a:endParaRPr lang="en-US" b="1" dirty="0"/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79E65732-1A38-4612-963D-E50293D4D6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2" y="6407835"/>
            <a:ext cx="7559473" cy="252000"/>
          </a:xfrm>
        </p:spPr>
        <p:txBody>
          <a:bodyPr/>
          <a:lstStyle/>
          <a:p>
            <a:pPr lvl="0"/>
            <a:endParaRPr lang="en-GB" noProof="0" dirty="0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4898DF6-D62C-438A-B0B8-CF71A575E9CB}"/>
              </a:ext>
            </a:extLst>
          </p:cNvPr>
          <p:cNvSpPr/>
          <p:nvPr/>
        </p:nvSpPr>
        <p:spPr>
          <a:xfrm>
            <a:off x="0" y="6024880"/>
            <a:ext cx="12191999" cy="833120"/>
          </a:xfrm>
          <a:prstGeom prst="rect">
            <a:avLst/>
          </a:prstGeom>
          <a:solidFill>
            <a:schemeClr val="tx1"/>
          </a:solidFill>
          <a:ln w="38100">
            <a:noFill/>
          </a:ln>
        </p:spPr>
        <p:txBody>
          <a:bodyPr wrap="square" lIns="91311" tIns="45657" rIns="91311" bIns="45657" rtlCol="0" anchor="ctr">
            <a:noAutofit/>
          </a:bodyPr>
          <a:lstStyle/>
          <a:p>
            <a:pPr algn="ctr"/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</a:rPr>
              <a:t>Machine learning is a subset</a:t>
            </a:r>
            <a:r>
              <a:rPr kumimoji="0" lang="en-US" sz="160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</a:rPr>
              <a:t> of Data Science which provides machines the ability to learn automatically and improve from experience without being explicitly programmed. 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pic>
        <p:nvPicPr>
          <p:cNvPr id="6" name="Content Placeholder 5" descr="A close up of a map&#10;&#10;Description automatically generated">
            <a:extLst>
              <a:ext uri="{FF2B5EF4-FFF2-40B4-BE49-F238E27FC236}">
                <a16:creationId xmlns:a16="http://schemas.microsoft.com/office/drawing/2014/main" id="{651E253D-F002-48DC-A7EC-0C261C80B82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1727200" y="1114449"/>
            <a:ext cx="8382000" cy="4900414"/>
          </a:xfr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5D49B3C-6AEF-483E-AFA2-CE22D2A8CFAD}"/>
              </a:ext>
            </a:extLst>
          </p:cNvPr>
          <p:cNvSpPr/>
          <p:nvPr/>
        </p:nvSpPr>
        <p:spPr bwMode="gray">
          <a:xfrm>
            <a:off x="8453120" y="916284"/>
            <a:ext cx="2011680" cy="63819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5798116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1D39BA9-9666-40F9-A94C-07C5E6A948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1040" y="1437601"/>
            <a:ext cx="4653280" cy="471871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F85B71D-9FE1-4DD7-819B-A2CAC3EFE076}"/>
              </a:ext>
            </a:extLst>
          </p:cNvPr>
          <p:cNvSpPr txBox="1"/>
          <p:nvPr/>
        </p:nvSpPr>
        <p:spPr>
          <a:xfrm>
            <a:off x="457200" y="325120"/>
            <a:ext cx="103632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b="1" dirty="0"/>
              <a:t>Data Science vs AI vs ML vs Deep Learning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88DF6AC-C828-42BC-BF5E-86A508CB01D6}"/>
              </a:ext>
            </a:extLst>
          </p:cNvPr>
          <p:cNvSpPr/>
          <p:nvPr/>
        </p:nvSpPr>
        <p:spPr bwMode="gray">
          <a:xfrm>
            <a:off x="6837680" y="1437601"/>
            <a:ext cx="4653280" cy="833894"/>
          </a:xfrm>
          <a:prstGeom prst="rect">
            <a:avLst/>
          </a:prstGeom>
          <a:solidFill>
            <a:srgbClr val="009EDB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A technique which enables machines to mimic human behavior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D3A6456-F4D5-4798-B9B4-B87EF76EB33D}"/>
              </a:ext>
            </a:extLst>
          </p:cNvPr>
          <p:cNvSpPr txBox="1"/>
          <p:nvPr/>
        </p:nvSpPr>
        <p:spPr>
          <a:xfrm>
            <a:off x="6893560" y="1099642"/>
            <a:ext cx="456184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800" b="1" dirty="0">
                <a:solidFill>
                  <a:srgbClr val="313131"/>
                </a:solidFill>
              </a:rPr>
              <a:t>Artificial Intelligence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6EDD709-B586-41EE-AE35-D776DB6E0E95}"/>
              </a:ext>
            </a:extLst>
          </p:cNvPr>
          <p:cNvSpPr/>
          <p:nvPr/>
        </p:nvSpPr>
        <p:spPr bwMode="gray">
          <a:xfrm>
            <a:off x="6837680" y="2900640"/>
            <a:ext cx="4653280" cy="878879"/>
          </a:xfrm>
          <a:prstGeom prst="rect">
            <a:avLst/>
          </a:prstGeom>
          <a:solidFill>
            <a:srgbClr val="FA9D1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Subset of AI techniques which use statistical methods to enable machines to improve with experienc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3E8C590-3811-4044-8817-100D897A9E16}"/>
              </a:ext>
            </a:extLst>
          </p:cNvPr>
          <p:cNvSpPr txBox="1"/>
          <p:nvPr/>
        </p:nvSpPr>
        <p:spPr>
          <a:xfrm>
            <a:off x="6893560" y="2538017"/>
            <a:ext cx="456184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800" b="1" dirty="0">
                <a:solidFill>
                  <a:srgbClr val="313131"/>
                </a:solidFill>
              </a:rPr>
              <a:t>Machine Learning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8424EFF-0DBB-4DBD-AB4A-B2DFF7515D3C}"/>
              </a:ext>
            </a:extLst>
          </p:cNvPr>
          <p:cNvSpPr/>
          <p:nvPr/>
        </p:nvSpPr>
        <p:spPr bwMode="gray">
          <a:xfrm>
            <a:off x="6847840" y="4323040"/>
            <a:ext cx="4653280" cy="878879"/>
          </a:xfrm>
          <a:prstGeom prst="rect">
            <a:avLst/>
          </a:prstGeom>
          <a:solidFill>
            <a:srgbClr val="E31A5B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Subset of ML which make the computation of multi-layer neural network feasibl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03FA0FB-481F-433E-850B-50003A5EC2AB}"/>
              </a:ext>
            </a:extLst>
          </p:cNvPr>
          <p:cNvSpPr txBox="1"/>
          <p:nvPr/>
        </p:nvSpPr>
        <p:spPr>
          <a:xfrm>
            <a:off x="6847840" y="4046041"/>
            <a:ext cx="456184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800" b="1" dirty="0">
                <a:solidFill>
                  <a:srgbClr val="313131"/>
                </a:solidFill>
              </a:rPr>
              <a:t>Deep Learn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6607168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BF85B71D-9FE1-4DD7-819B-A2CAC3EFE076}"/>
              </a:ext>
            </a:extLst>
          </p:cNvPr>
          <p:cNvSpPr txBox="1"/>
          <p:nvPr/>
        </p:nvSpPr>
        <p:spPr>
          <a:xfrm>
            <a:off x="457200" y="325120"/>
            <a:ext cx="103632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b="1" dirty="0"/>
              <a:t>Use Case – Recommendation System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EC092B2-4A4E-4F65-A498-C2F27CEA0E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608852"/>
            <a:ext cx="11779194" cy="423314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4864858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BF85B71D-9FE1-4DD7-819B-A2CAC3EFE076}"/>
              </a:ext>
            </a:extLst>
          </p:cNvPr>
          <p:cNvSpPr txBox="1"/>
          <p:nvPr/>
        </p:nvSpPr>
        <p:spPr>
          <a:xfrm>
            <a:off x="457200" y="325120"/>
            <a:ext cx="103632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b="1" dirty="0"/>
              <a:t>Data Science Lifec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B6EADBC-9895-411C-B5B5-E79B810366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8013" y="1597660"/>
            <a:ext cx="9566467" cy="428498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9910737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BF85B71D-9FE1-4DD7-819B-A2CAC3EFE076}"/>
              </a:ext>
            </a:extLst>
          </p:cNvPr>
          <p:cNvSpPr txBox="1"/>
          <p:nvPr/>
        </p:nvSpPr>
        <p:spPr>
          <a:xfrm>
            <a:off x="457200" y="325120"/>
            <a:ext cx="103632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b="1" dirty="0"/>
              <a:t>Where does Machine Learning fit in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E289BF3-9363-4B12-8C1D-89183E9E82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0200" y="1432559"/>
            <a:ext cx="11069320" cy="368977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5602780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BF85B71D-9FE1-4DD7-819B-A2CAC3EFE076}"/>
              </a:ext>
            </a:extLst>
          </p:cNvPr>
          <p:cNvSpPr txBox="1"/>
          <p:nvPr/>
        </p:nvSpPr>
        <p:spPr>
          <a:xfrm>
            <a:off x="1005840" y="721688"/>
            <a:ext cx="436880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800" b="1" dirty="0"/>
              <a:t>When do we use ML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6C12E0-2E6A-487B-85A2-1C191B00AC91}"/>
              </a:ext>
            </a:extLst>
          </p:cNvPr>
          <p:cNvSpPr txBox="1"/>
          <p:nvPr/>
        </p:nvSpPr>
        <p:spPr>
          <a:xfrm>
            <a:off x="6329680" y="734992"/>
            <a:ext cx="607568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2800" b="1" dirty="0"/>
              <a:t>When should we not use ML?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7BD401C-7928-43EA-B375-76579A224182}"/>
              </a:ext>
            </a:extLst>
          </p:cNvPr>
          <p:cNvSpPr/>
          <p:nvPr/>
        </p:nvSpPr>
        <p:spPr bwMode="gray">
          <a:xfrm>
            <a:off x="629920" y="1240383"/>
            <a:ext cx="5120640" cy="496390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D19A47-BADB-4185-A225-6C103872AFE6}"/>
              </a:ext>
            </a:extLst>
          </p:cNvPr>
          <p:cNvSpPr txBox="1"/>
          <p:nvPr/>
        </p:nvSpPr>
        <p:spPr>
          <a:xfrm>
            <a:off x="629920" y="1365775"/>
            <a:ext cx="5120640" cy="44627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2000" b="1" dirty="0"/>
              <a:t>Classification</a:t>
            </a:r>
            <a:r>
              <a:rPr lang="en-US" sz="2000" dirty="0"/>
              <a:t>: Machine learning is a great tool when you need to divide objects into two or more pre-defined groups.</a:t>
            </a:r>
          </a:p>
          <a:p>
            <a:pPr>
              <a:spcBef>
                <a:spcPts val="600"/>
              </a:spcBef>
              <a:buSzPct val="100000"/>
            </a:pPr>
            <a:endParaRPr lang="en-US" sz="2000" dirty="0"/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2000" b="1" dirty="0"/>
              <a:t>Clustering</a:t>
            </a:r>
            <a:r>
              <a:rPr lang="en-US" sz="2000" dirty="0"/>
              <a:t>: ML discovers patterns in chaos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2000" dirty="0"/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2000" b="1" dirty="0"/>
              <a:t>Regression</a:t>
            </a:r>
            <a:r>
              <a:rPr lang="en-US" sz="2000" dirty="0"/>
              <a:t>: Future prediction</a:t>
            </a:r>
          </a:p>
          <a:p>
            <a:pPr>
              <a:spcBef>
                <a:spcPts val="600"/>
              </a:spcBef>
              <a:buSzPct val="100000"/>
            </a:pPr>
            <a:endParaRPr lang="en-US" sz="2000" dirty="0"/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2000" b="1" dirty="0"/>
              <a:t>Dimensionality Reduction: </a:t>
            </a:r>
            <a:r>
              <a:rPr lang="en-US" sz="2000" dirty="0"/>
              <a:t>ML can choose which data are the most significant</a:t>
            </a:r>
            <a:endParaRPr lang="en-US" sz="2000" dirty="0">
              <a:solidFill>
                <a:srgbClr val="31313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28B5B1B-D260-45F5-9515-6EFDE270FF25}"/>
              </a:ext>
            </a:extLst>
          </p:cNvPr>
          <p:cNvSpPr/>
          <p:nvPr/>
        </p:nvSpPr>
        <p:spPr bwMode="gray">
          <a:xfrm>
            <a:off x="6654801" y="1240383"/>
            <a:ext cx="5120640" cy="496390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234729F-BD86-432D-B077-47E441062BF0}"/>
              </a:ext>
            </a:extLst>
          </p:cNvPr>
          <p:cNvSpPr txBox="1"/>
          <p:nvPr/>
        </p:nvSpPr>
        <p:spPr>
          <a:xfrm>
            <a:off x="6868162" y="1365775"/>
            <a:ext cx="4866640" cy="26161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2000" b="1" dirty="0"/>
              <a:t>Not Enough Data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2000" dirty="0"/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2000" b="1" dirty="0"/>
              <a:t>Noisy Data</a:t>
            </a:r>
            <a:endParaRPr lang="en-US" sz="2000" dirty="0"/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2000" dirty="0"/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2000" b="1" dirty="0"/>
              <a:t>No Time and Money</a:t>
            </a:r>
            <a:endParaRPr lang="en-US" sz="2000" dirty="0"/>
          </a:p>
          <a:p>
            <a:pPr>
              <a:spcBef>
                <a:spcPts val="600"/>
              </a:spcBef>
              <a:buSzPct val="100000"/>
            </a:pPr>
            <a:endParaRPr lang="en-US" sz="2000" dirty="0"/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2000" b="1" dirty="0"/>
              <a:t>Simple Problem to Solve</a:t>
            </a:r>
            <a:endParaRPr lang="en-US" sz="2000" dirty="0">
              <a:solidFill>
                <a:srgbClr val="31313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5808609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MMPROD_NEXTUNIQUEID" val="10009"/>
  <p:tag name="ARTICULATE_SLIDE_THUMBNAIL_REFRESH" val="1"/>
  <p:tag name="ARTICULATE_SLIDE_COUNT" val="155"/>
  <p:tag name="ARTICULATE_PROJECT_OPEN" val="0"/>
  <p:tag name="MMPROD_UIDATA" val="&lt;database version=&quot;11.0&quot;&gt;&lt;object type=&quot;1&quot; unique_id=&quot;10001&quot;&gt;&lt;object type=&quot;8&quot; unique_id=&quot;10087&quot;&gt;&lt;/object&gt;&lt;object type=&quot;2&quot; unique_id=&quot;10088&quot;&gt;&lt;object type=&quot;3&quot; unique_id=&quot;10144&quot;&gt;&lt;property id=&quot;20148&quot; value=&quot;5&quot;/&gt;&lt;property id=&quot;20300&quot; value=&quot;Slide 155&quot;/&gt;&lt;property id=&quot;20307&quot; value=&quot;386&quot;/&gt;&lt;/object&gt;&lt;object type=&quot;3&quot; unique_id=&quot;10185&quot;&gt;&lt;property id=&quot;20148&quot; value=&quot;5&quot;/&gt;&lt;property id=&quot;20300&quot; value=&quot;Slide 1&quot;/&gt;&lt;property id=&quot;20307&quot; value=&quot;739&quot;/&gt;&lt;/object&gt;&lt;object type=&quot;3&quot; unique_id=&quot;10186&quot;&gt;&lt;property id=&quot;20148&quot; value=&quot;5&quot;/&gt;&lt;property id=&quot;20300&quot; value=&quot;Slide 2&quot;/&gt;&lt;property id=&quot;20307&quot; value=&quot;1551&quot;/&gt;&lt;/object&gt;&lt;object type=&quot;3&quot; unique_id=&quot;10187&quot;&gt;&lt;property id=&quot;20148&quot; value=&quot;5&quot;/&gt;&lt;property id=&quot;20300&quot; value=&quot;Slide 3 - &amp;quot;Learning objectives&amp;quot;&quot;/&gt;&lt;property id=&quot;20307&quot; value=&quot;816&quot;/&gt;&lt;/object&gt;&lt;object type=&quot;3&quot; unique_id=&quot;10188&quot;&gt;&lt;property id=&quot;20148&quot; value=&quot;5&quot;/&gt;&lt;property id=&quot;20300&quot; value=&quot;Slide 4 - &amp;quot;Training roadmap, day 1&amp;quot;&quot;/&gt;&lt;property id=&quot;20307&quot; value=&quot;1690&quot;/&gt;&lt;/object&gt;&lt;object type=&quot;3&quot; unique_id=&quot;10189&quot;&gt;&lt;property id=&quot;20148&quot; value=&quot;5&quot;/&gt;&lt;property id=&quot;20300&quot; value=&quot;Slide 5 - &amp;quot;Training roadmap, day 2&amp;quot;&quot;/&gt;&lt;property id=&quot;20307&quot; value=&quot;1691&quot;/&gt;&lt;/object&gt;&lt;object type=&quot;3&quot; unique_id=&quot;10190&quot;&gt;&lt;property id=&quot;20148&quot; value=&quot;5&quot;/&gt;&lt;property id=&quot;20300&quot; value=&quot;Slide 6 - &amp;quot;What this course is not&amp;quot;&quot;/&gt;&lt;property id=&quot;20307&quot; value=&quot;1209&quot;/&gt;&lt;/object&gt;&lt;object type=&quot;3&quot; unique_id=&quot;10191&quot;&gt;&lt;property id=&quot;20148&quot; value=&quot;5&quot;/&gt;&lt;property id=&quot;20300&quot; value=&quot;Slide 7 - &amp;quot;Housekeeping&amp;quot;&quot;/&gt;&lt;property id=&quot;20307&quot; value=&quot;1075&quot;/&gt;&lt;/object&gt;&lt;object type=&quot;3&quot; unique_id=&quot;10198&quot;&gt;&lt;property id=&quot;20148&quot; value=&quot;5&quot;/&gt;&lt;property id=&quot;20300&quot; value=&quot;Slide 8 - &amp;quot;Training roadmap, day 1&amp;quot;&quot;/&gt;&lt;property id=&quot;20307&quot; value=&quot;1694&quot;/&gt;&lt;/object&gt;&lt;object type=&quot;3&quot; unique_id=&quot;10199&quot;&gt;&lt;property id=&quot;20148&quot; value=&quot;5&quot;/&gt;&lt;property id=&quot;20300&quot; value=&quot;Slide 9 - &amp;quot;What is Agile?&amp;quot;&quot;/&gt;&lt;property id=&quot;20307&quot; value=&quot;851&quot;/&gt;&lt;/object&gt;&lt;object type=&quot;3&quot; unique_id=&quot;10200&quot;&gt;&lt;property id=&quot;20148&quot; value=&quot;5&quot;/&gt;&lt;property id=&quot;20300&quot; value=&quot;Slide 10 - &amp;quot;Origins of Agile&amp;quot;&quot;/&gt;&lt;property id=&quot;20307&quot; value=&quot;1512&quot;/&gt;&lt;/object&gt;&lt;object type=&quot;3&quot; unique_id=&quot;10201&quot;&gt;&lt;property id=&quot;20148&quot; value=&quot;5&quot;/&gt;&lt;property id=&quot;20300&quot; value=&quot;Slide 12 - &amp;quot;Iterative vs. Incremental&amp;quot;&quot;/&gt;&lt;property id=&quot;20307&quot; value=&quot;1585&quot;/&gt;&lt;/object&gt;&lt;object type=&quot;3&quot; unique_id=&quot;10203&quot;&gt;&lt;property id=&quot;20148&quot; value=&quot;5&quot;/&gt;&lt;property id=&quot;20300&quot; value=&quot;Slide 13 - &amp;quot;Manifesto for Agile Software Development &amp;quot;&quot;/&gt;&lt;property id=&quot;20307&quot; value=&quot;1222&quot;/&gt;&lt;/object&gt;&lt;object type=&quot;3&quot; unique_id=&quot;10206&quot;&gt;&lt;property id=&quot;20148&quot; value=&quot;5&quot;/&gt;&lt;property id=&quot;20300&quot; value=&quot;Slide 14 - &amp;quot;Waterfall focuses on predictability while agile embraces change&amp;quot;&quot;/&gt;&lt;property id=&quot;20307&quot; value=&quot;1385&quot;/&gt;&lt;/object&gt;&lt;object type=&quot;3&quot; unique_id=&quot;10209&quot;&gt;&lt;property id=&quot;20148&quot; value=&quot;5&quot;/&gt;&lt;property id=&quot;20300&quot; value=&quot;Slide 15 - &amp;quot;Our way of delivery&amp;quot;&quot;/&gt;&lt;property id=&quot;20307&quot; value=&quot;1225&quot;/&gt;&lt;/object&gt;&lt;object type=&quot;3&quot; unique_id=&quot;10219&quot;&gt;&lt;property id=&quot;20148&quot; value=&quot;5&quot;/&gt;&lt;property id=&quot;20300&quot; value=&quot;Slide 16 - &amp;quot;Training roadmap, day 1&amp;quot;&quot;/&gt;&lt;property id=&quot;20307&quot; value=&quot;1695&quot;/&gt;&lt;/object&gt;&lt;object type=&quot;3&quot; unique_id=&quot;10220&quot;&gt;&lt;property id=&quot;20148&quot; value=&quot;5&quot;/&gt;&lt;property id=&quot;20300&quot; value=&quot;Slide 17 - &amp;quot;Discovery Project Planning and Sprint 0 &amp;quot;&quot;/&gt;&lt;property id=&quot;20307&quot; value=&quot;1237&quot;/&gt;&lt;/object&gt;&lt;object type=&quot;3&quot; unique_id=&quot;10221&quot;&gt;&lt;property id=&quot;20148&quot; value=&quot;5&quot;/&gt;&lt;property id=&quot;20300&quot; value=&quot;Slide 18 - &amp;quot;Discovery Project Planning&amp;quot;&quot;/&gt;&lt;property id=&quot;20307&quot; value=&quot;1514&quot;/&gt;&lt;/object&gt;&lt;object type=&quot;3&quot; unique_id=&quot;10222&quot;&gt;&lt;property id=&quot;20148&quot; value=&quot;5&quot;/&gt;&lt;property id=&quot;20300&quot; value=&quot;Slide 19 - &amp;quot;Discovery Sprint 0&amp;quot;&quot;/&gt;&lt;property id=&quot;20307&quot; value=&quot;1515&quot;/&gt;&lt;/object&gt;&lt;object type=&quot;3&quot; unique_id=&quot;10223&quot;&gt;&lt;property id=&quot;20148&quot; value=&quot;5&quot;/&gt;&lt;property id=&quot;20300&quot; value=&quot;Slide 20 - &amp;quot;Personas &amp;quot;&quot;/&gt;&lt;property id=&quot;20307&quot; value=&quot;1557&quot;/&gt;&lt;/object&gt;&lt;object type=&quot;3&quot; unique_id=&quot;10224&quot;&gt;&lt;property id=&quot;20148&quot; value=&quot;5&quot;/&gt;&lt;property id=&quot;20300&quot; value=&quot;Slide 21&quot;/&gt;&lt;property id=&quot;20307&quot; value=&quot;1559&quot;/&gt;&lt;/object&gt;&lt;object type=&quot;3&quot; unique_id=&quot;10226&quot;&gt;&lt;property id=&quot;20148&quot; value=&quot;5&quot;/&gt;&lt;property id=&quot;20300&quot; value=&quot;Slide 23 - &amp;quot;Product Backlog&amp;quot;&quot;/&gt;&lt;property id=&quot;20307&quot; value=&quot;1558&quot;/&gt;&lt;/object&gt;&lt;object type=&quot;3&quot; unique_id=&quot;10227&quot;&gt;&lt;property id=&quot;20148&quot; value=&quot;5&quot;/&gt;&lt;property id=&quot;20300&quot; value=&quot;Slide 24 - &amp;quot;Decomposing Business Requirements&amp;quot;&quot;/&gt;&lt;property id=&quot;20307&quot; value=&quot;1554&quot;/&gt;&lt;/object&gt;&lt;object type=&quot;3&quot; unique_id=&quot;10228&quot;&gt;&lt;property id=&quot;20148&quot; value=&quot;5&quot;/&gt;&lt;property id=&quot;20300&quot; value=&quot;Slide 25&quot;/&gt;&lt;property id=&quot;20307&quot; value=&quot;1561&quot;/&gt;&lt;/object&gt;&lt;object type=&quot;3&quot; unique_id=&quot;10229&quot;&gt;&lt;property id=&quot;20148&quot; value=&quot;5&quot;/&gt;&lt;property id=&quot;20300&quot; value=&quot;Slide 26 - &amp;quot;Sample User Story structure&amp;quot;&quot;/&gt;&lt;property id=&quot;20307&quot; value=&quot;1674&quot;/&gt;&lt;/object&gt;&lt;object type=&quot;3&quot; unique_id=&quot;10230&quot;&gt;&lt;property id=&quot;20148&quot; value=&quot;5&quot;/&gt;&lt;property id=&quot;20300&quot; value=&quot;Slide 27 - &amp;quot;INVEST Principle&amp;quot;&quot;/&gt;&lt;property id=&quot;20307&quot; value=&quot;1521&quot;/&gt;&lt;/object&gt;&lt;object type=&quot;3&quot; unique_id=&quot;10231&quot;&gt;&lt;property id=&quot;20148&quot; value=&quot;5&quot;/&gt;&lt;property id=&quot;20300&quot; value=&quot;Slide 28 - &amp;quot;Acceptance Criteria&amp;quot;&quot;/&gt;&lt;property id=&quot;20307&quot; value=&quot;1524&quot;/&gt;&lt;/object&gt;&lt;object type=&quot;3&quot; unique_id=&quot;10232&quot;&gt;&lt;property id=&quot;20148&quot; value=&quot;5&quot;/&gt;&lt;property id=&quot;20300&quot; value=&quot;Slide 29 - &amp;quot;Make Acceptance Criteria SMART&amp;quot;&quot;/&gt;&lt;property id=&quot;20307&quot; value=&quot;1525&quot;/&gt;&lt;/object&gt;&lt;object type=&quot;3&quot; unique_id=&quot;10233&quot;&gt;&lt;property id=&quot;20148&quot; value=&quot;5&quot;/&gt;&lt;property id=&quot;20300&quot; value=&quot;Slide 30 - &amp;quot;Techniques for decomposing user stories &amp;quot;&quot;/&gt;&lt;property id=&quot;20307&quot; value=&quot;1527&quot;/&gt;&lt;/object&gt;&lt;object type=&quot;3&quot; unique_id=&quot;10237&quot;&gt;&lt;property id=&quot;20148&quot; value=&quot;5&quot;/&gt;&lt;property id=&quot;20300&quot; value=&quot;Slide 31 - &amp;quot;Definition of Ready (DoR)&amp;quot;&quot;/&gt;&lt;property id=&quot;20307&quot; value=&quot;1549&quot;/&gt;&lt;/object&gt;&lt;object type=&quot;3&quot; unique_id=&quot;10238&quot;&gt;&lt;property id=&quot;20148&quot; value=&quot;5&quot;/&gt;&lt;property id=&quot;20300&quot; value=&quot;Slide 32 - &amp;quot;Definition of Done (DoD)&amp;quot;&quot;/&gt;&lt;property id=&quot;20307&quot; value=&quot;1550&quot;/&gt;&lt;/object&gt;&lt;object type=&quot;3&quot; unique_id=&quot;10239&quot;&gt;&lt;property id=&quot;20148&quot; value=&quot;5&quot;/&gt;&lt;property id=&quot;20300&quot; value=&quot;Slide 33 - &amp;quot;Relative Estimation&amp;quot;&quot;/&gt;&lt;property id=&quot;20307&quot; value=&quot;1534&quot;/&gt;&lt;/object&gt;&lt;object type=&quot;3&quot; unique_id=&quot;10240&quot;&gt;&lt;property id=&quot;20148&quot; value=&quot;5&quot;/&gt;&lt;property id=&quot;20300&quot; value=&quot;Slide 34 - &amp;quot;Estimating at increasing levels of granularity&amp;quot;&quot;/&gt;&lt;property id=&quot;20307&quot; value=&quot;1533&quot;/&gt;&lt;/object&gt;&lt;object type=&quot;3&quot; unique_id=&quot;10241&quot;&gt;&lt;property id=&quot;20148&quot; value=&quot;5&quot;/&gt;&lt;property id=&quot;20300&quot; value=&quot;Slide 35 - &amp;quot;Planning Poker – Iterative Steps&amp;quot;&quot;/&gt;&lt;property id=&quot;20307&quot; value=&quot;1254&quot;/&gt;&lt;/object&gt;&lt;object type=&quot;3&quot; unique_id=&quot;10246&quot;&gt;&lt;property id=&quot;20148&quot; value=&quot;5&quot;/&gt;&lt;property id=&quot;20300&quot; value=&quot;Slide 36 - &amp;quot;Introduction to Story Mapping &amp;amp; MVP&amp;quot;&quot;/&gt;&lt;property id=&quot;20307&quot; value=&quot;1530&quot;/&gt;&lt;/object&gt;&lt;object type=&quot;3&quot; unique_id=&quot;10247&quot;&gt;&lt;property id=&quot;20148&quot; value=&quot;5&quot;/&gt;&lt;property id=&quot;20300&quot; value=&quot;Slide 37 - &amp;quot;Story Mapping example &amp;quot;&quot;/&gt;&lt;property id=&quot;20307&quot; value=&quot;1531&quot;/&gt;&lt;/object&gt;&lt;object type=&quot;3&quot; unique_id=&quot;10248&quot;&gt;&lt;property id=&quot;20148&quot; value=&quot;5&quot;/&gt;&lt;property id=&quot;20300&quot; value=&quot;Slide 38 - &amp;quot;User Story prioritization – MoSCoW method&amp;quot;&quot;/&gt;&lt;property id=&quot;20307&quot; value=&quot;1576&quot;/&gt;&lt;/object&gt;&lt;object type=&quot;3&quot; unique_id=&quot;10249&quot;&gt;&lt;property id=&quot;20148&quot; value=&quot;5&quot;/&gt;&lt;property id=&quot;20300&quot; value=&quot;Slide 39 - &amp;quot;MVP approach focuses on value&amp;quot;&quot;/&gt;&lt;property id=&quot;20307&quot; value=&quot;1532&quot;/&gt;&lt;/object&gt;&lt;object type=&quot;3&quot; unique_id=&quot;10250&quot;&gt;&lt;property id=&quot;20148&quot; value=&quot;5&quot;/&gt;&lt;property id=&quot;20300&quot; value=&quot;Slide 40 - &amp;quot;Capacity &amp;amp; Velocity&amp;quot;&quot;/&gt;&lt;property id=&quot;20307&quot; value=&quot;1402&quot;/&gt;&lt;/object&gt;&lt;object type=&quot;3&quot; unique_id=&quot;10251&quot;&gt;&lt;property id=&quot;20148&quot; value=&quot;5&quot;/&gt;&lt;property id=&quot;20300&quot; value=&quot;Slide 41 - &amp;quot;What is Capacity?&amp;quot;&quot;/&gt;&lt;property id=&quot;20307&quot; value=&quot;1260&quot;/&gt;&lt;/object&gt;&lt;object type=&quot;3&quot; unique_id=&quot;10252&quot;&gt;&lt;property id=&quot;20148&quot; value=&quot;5&quot;/&gt;&lt;property id=&quot;20300&quot; value=&quot;Slide 42 - &amp;quot;What is Velocity?&amp;quot;&quot;/&gt;&lt;property id=&quot;20307&quot; value=&quot;1261&quot;/&gt;&lt;/object&gt;&lt;object type=&quot;3&quot; unique_id=&quot;10254&quot;&gt;&lt;property id=&quot;20148&quot; value=&quot;5&quot;/&gt;&lt;property id=&quot;20300&quot; value=&quot;Slide 43 - &amp;quot;Agile journey&amp;quot;&quot;/&gt;&lt;property id=&quot;20307&quot; value=&quot;1723&quot;/&gt;&lt;/object&gt;&lt;object type=&quot;3&quot; unique_id=&quot;10255&quot;&gt;&lt;property id=&quot;20148&quot; value=&quot;5&quot;/&gt;&lt;property id=&quot;20300&quot; value=&quot;Slide 44 - &amp;quot;Discovery Sprint 0 process&amp;quot;&quot;/&gt;&lt;property id=&quot;20307&quot; value=&quot;1708&quot;/&gt;&lt;/object&gt;&lt;object type=&quot;3&quot; unique_id=&quot;10256&quot;&gt;&lt;property id=&quot;20148&quot; value=&quot;5&quot;/&gt;&lt;property id=&quot;20300&quot; value=&quot;Slide 45 - &amp;quot;Discovery&amp;quot;&quot;/&gt;&lt;property id=&quot;20307&quot; value=&quot;1709&quot;/&gt;&lt;/object&gt;&lt;object type=&quot;3&quot; unique_id=&quot;10257&quot;&gt;&lt;property id=&quot;20148&quot; value=&quot;5&quot;/&gt;&lt;property id=&quot;20300&quot; value=&quot;Slide 46 - &amp;quot;Discovery Sprint 0 overview &amp;quot;&quot;/&gt;&lt;property id=&quot;20307&quot; value=&quot;1710&quot;/&gt;&lt;/object&gt;&lt;object type=&quot;3&quot; unique_id=&quot;10258&quot;&gt;&lt;property id=&quot;20148&quot; value=&quot;5&quot;/&gt;&lt;property id=&quot;20300&quot; value=&quot;Slide 47 - &amp;quot;Discovery Sprint 0: Prepare for Discovery&amp;quot;&quot;/&gt;&lt;property id=&quot;20307&quot; value=&quot;1711&quot;/&gt;&lt;/object&gt;&lt;object type=&quot;3&quot; unique_id=&quot;10259&quot;&gt;&lt;property id=&quot;20148&quot; value=&quot;5&quot;/&gt;&lt;property id=&quot;20300&quot; value=&quot;Slide 48 - &amp;quot;Discovery Sprint 0: Prepare Foundational Solution Design&amp;quot;&quot;/&gt;&lt;property id=&quot;20307&quot; value=&quot;1712&quot;/&gt;&lt;/object&gt;&lt;object type=&quot;3&quot; unique_id=&quot;10260&quot;&gt;&lt;property id=&quot;20148&quot; value=&quot;5&quot;/&gt;&lt;property id=&quot;20300&quot; value=&quot;Slide 49 - &amp;quot;Discovery Sprint 0: Kick-off Discovery&amp;quot;&quot;/&gt;&lt;property id=&quot;20307&quot; value=&quot;1713&quot;/&gt;&lt;/object&gt;&lt;object type=&quot;3&quot; unique_id=&quot;10261&quot;&gt;&lt;property id=&quot;20148&quot; value=&quot;5&quot;/&gt;&lt;property id=&quot;20300&quot; value=&quot;Slide 50 - &amp;quot;Defining the process for ‘readying’ user stories&amp;quot;&quot;/&gt;&lt;property id=&quot;20307&quot; value=&quot;1714&quot;/&gt;&lt;/object&gt;&lt;object type=&quot;3&quot; unique_id=&quot;10262&quot;&gt;&lt;property id=&quot;20148&quot; value=&quot;5&quot;/&gt;&lt;property id=&quot;20300&quot; value=&quot;Slide 51 - &amp;quot;Discovery Sprint 0: Conduct Workshops &amp;amp; Refine Product Backlog&amp;quot;&quot;/&gt;&lt;property id=&quot;20307&quot; value=&quot;1715&quot;/&gt;&lt;/object&gt;&lt;object type=&quot;3&quot; unique_id=&quot;10263&quot;&gt;&lt;property id=&quot;20148&quot; value=&quot;5&quot;/&gt;&lt;property id=&quot;20300&quot; value=&quot;Slide 52 - &amp;quot;Discovery Sprint 0: Conduct Workshops &amp;amp; Refine Product Backlog&amp;quot;&quot;/&gt;&lt;property id=&quot;20307&quot; value=&quot;1716&quot;/&gt;&lt;/object&gt;&lt;object type=&quot;3&quot; unique_id=&quot;10264&quot;&gt;&lt;property id=&quot;20148&quot; value=&quot;5&quot;/&gt;&lt;property id=&quot;20300&quot; value=&quot;Slide 53 - &amp;quot;Discovery Sprint 0: Prepare for sprinting&amp;quot;&quot;/&gt;&lt;property id=&quot;20307&quot; value=&quot;1717&quot;/&gt;&lt;/object&gt;&lt;object type=&quot;3&quot; unique_id=&quot;10265&quot;&gt;&lt;property id=&quot;20148&quot; value=&quot;5&quot;/&gt;&lt;property id=&quot;20300&quot; value=&quot;Slide 54 - &amp;quot;Sample ceremony and meeting cadence&amp;quot;&quot;/&gt;&lt;property id=&quot;20307&quot; value=&quot;1718&quot;/&gt;&lt;/object&gt;&lt;object type=&quot;3&quot; unique_id=&quot;10266&quot;&gt;&lt;property id=&quot;20148&quot; value=&quot;5&quot;/&gt;&lt;property id=&quot;20300&quot; value=&quot;Slide 55 - &amp;quot;Discovery Sprint 0: Validate MVP and Roadmap&amp;quot;&quot;/&gt;&lt;property id=&quot;20307&quot; value=&quot;1719&quot;/&gt;&lt;/object&gt;&lt;object type=&quot;3&quot; unique_id=&quot;10276&quot;&gt;&lt;property id=&quot;20148&quot; value=&quot;5&quot;/&gt;&lt;property id=&quot;20300&quot; value=&quot;Slide 56 - &amp;quot;Day 1 Wrap up&amp;quot;&quot;/&gt;&lt;property id=&quot;20307&quot; value=&quot;1282&quot;/&gt;&lt;/object&gt;&lt;object type=&quot;3&quot; unique_id=&quot;10277&quot;&gt;&lt;property id=&quot;20148&quot; value=&quot;5&quot;/&gt;&lt;property id=&quot;20300&quot; value=&quot;Slide 57 - &amp;quot;Agile critical success factors&amp;quot;&quot;/&gt;&lt;property id=&quot;20307&quot; value=&quot;1447&quot;/&gt;&lt;/object&gt;&lt;object type=&quot;3&quot; unique_id=&quot;10278&quot;&gt;&lt;property id=&quot;20148&quot; value=&quot;5&quot;/&gt;&lt;property id=&quot;20300&quot; value=&quot;Slide 58&quot;/&gt;&lt;property id=&quot;20307&quot; value=&quot;1623&quot;/&gt;&lt;/object&gt;&lt;object type=&quot;3&quot; unique_id=&quot;10279&quot;&gt;&lt;property id=&quot;20148&quot; value=&quot;5&quot;/&gt;&lt;property id=&quot;20300&quot; value=&quot;Slide 59 - &amp;quot;Day 1 Retrospective &amp;quot;&quot;/&gt;&lt;property id=&quot;20307&quot; value=&quot;1283&quot;/&gt;&lt;/object&gt;&lt;object type=&quot;3&quot; unique_id=&quot;10280&quot;&gt;&lt;property id=&quot;20148&quot; value=&quot;5&quot;/&gt;&lt;property id=&quot;20300&quot; value=&quot;Slide 60&quot;/&gt;&lt;property id=&quot;20307&quot; value=&quot;1285&quot;/&gt;&lt;/object&gt;&lt;object type=&quot;3&quot; unique_id=&quot;10281&quot;&gt;&lt;property id=&quot;20148&quot; value=&quot;5&quot;/&gt;&lt;property id=&quot;20300&quot; value=&quot;Slide 61&quot;/&gt;&lt;property id=&quot;20307&quot; value=&quot;1284&quot;/&gt;&lt;/object&gt;&lt;object type=&quot;3&quot; unique_id=&quot;10282&quot;&gt;&lt;property id=&quot;20148&quot; value=&quot;5&quot;/&gt;&lt;property id=&quot;20300&quot; value=&quot;Slide 62 - &amp;quot;Training roadmap, day 2&amp;quot;&quot;/&gt;&lt;property id=&quot;20307&quot; value=&quot;1697&quot;/&gt;&lt;/object&gt;&lt;object type=&quot;3&quot; unique_id=&quot;10283&quot;&gt;&lt;property id=&quot;20148&quot; value=&quot;5&quot;/&gt;&lt;property id=&quot;20300&quot; value=&quot;Slide 63 - &amp;quot;Day 1 Retrospective &amp;quot;&quot;/&gt;&lt;property id=&quot;20307&quot; value=&quot;1287&quot;/&gt;&lt;/object&gt;&lt;object type=&quot;3&quot; unique_id=&quot;10288&quot;&gt;&lt;property id=&quot;20148&quot; value=&quot;5&quot;/&gt;&lt;property id=&quot;20300&quot; value=&quot;Slide 64 - &amp;quot;Nordstrom Innovation lab&amp;quot;&quot;/&gt;&lt;property id=&quot;20307&quot; value=&quot;1303&quot;/&gt;&lt;/object&gt;&lt;object type=&quot;3&quot; unique_id=&quot;10289&quot;&gt;&lt;property id=&quot;20148&quot; value=&quot;5&quot;/&gt;&lt;property id=&quot;20300&quot; value=&quot;Slide 65 - &amp;quot;Ian Sense&amp;quot;&quot;/&gt;&lt;property id=&quot;20307&quot; value=&quot;1304&quot;/&gt;&lt;/object&gt;&lt;object type=&quot;3&quot; unique_id=&quot;10290&quot;&gt;&lt;property id=&quot;20148&quot; value=&quot;5&quot;/&gt;&lt;property id=&quot;20300&quot; value=&quot;Slide 66 - &amp;quot;Spotify Engineering Culture&amp;quot;&quot;/&gt;&lt;property id=&quot;20307&quot; value=&quot;1305&quot;/&gt;&lt;/object&gt;&lt;object type=&quot;3&quot; unique_id=&quot;10293&quot;&gt;&lt;property id=&quot;20148&quot; value=&quot;5&quot;/&gt;&lt;property id=&quot;20300&quot; value=&quot;Slide 67 - &amp;quot;Contract fee types to consider&amp;quot;&quot;/&gt;&lt;property id=&quot;20307&quot; value=&quot;1599&quot;/&gt;&lt;/object&gt;&lt;object type=&quot;3&quot; unique_id=&quot;10294&quot;&gt;&lt;property id=&quot;20148&quot; value=&quot;5&quot;/&gt;&lt;property id=&quot;20300&quot; value=&quot;Slide 68 - &amp;quot;Determining Contract fee types&amp;quot;&quot;/&gt;&lt;property id=&quot;20307&quot; value=&quot;1600&quot;/&gt;&lt;/object&gt;&lt;object type=&quot;3&quot; unique_id=&quot;10295&quot;&gt;&lt;property id=&quot;20148&quot; value=&quot;5&quot;/&gt;&lt;property id=&quot;20300&quot; value=&quot;Slide 69 - &amp;quot;Contract fee types considerations by project approach&amp;quot;&quot;/&gt;&lt;property id=&quot;20307&quot; value=&quot;1601&quot;/&gt;&lt;/object&gt;&lt;object type=&quot;3&quot; unique_id=&quot;10296&quot;&gt;&lt;property id=&quot;20148&quot; value=&quot;5&quot;/&gt;&lt;property id=&quot;20300&quot; value=&quot;Slide 70 - &amp;quot;SOW options and fee type options&amp;quot;&quot;/&gt;&lt;property id=&quot;20307&quot; value=&quot;1602&quot;/&gt;&lt;/object&gt;&lt;object type=&quot;3&quot; unique_id=&quot;10297&quot;&gt;&lt;property id=&quot;20148&quot; value=&quot;5&quot;/&gt;&lt;property id=&quot;20300&quot; value=&quot;Slide 71 - &amp;quot;Training roadmap, day 2&amp;quot;&quot;/&gt;&lt;property id=&quot;20307&quot; value=&quot;1698&quot;/&gt;&lt;/object&gt;&lt;object type=&quot;3&quot; unique_id=&quot;10298&quot;&gt;&lt;property id=&quot;20148&quot; value=&quot;5&quot;/&gt;&lt;property id=&quot;20300&quot; value=&quot;Slide 72 - &amp;quot;Sprint Cycle&amp;quot;&quot;/&gt;&lt;property id=&quot;20307&quot; value=&quot;1312&quot;/&gt;&lt;/object&gt;&lt;object type=&quot;3&quot; unique_id=&quot;10301&quot;&gt;&lt;property id=&quot;20148&quot; value=&quot;5&quot;/&gt;&lt;property id=&quot;20300&quot; value=&quot;Slide 73 - &amp;quot;Sprint Cycle overview&amp;quot;&quot;/&gt;&lt;property id=&quot;20307&quot; value=&quot;1566&quot;/&gt;&lt;/object&gt;&lt;object type=&quot;3&quot; unique_id=&quot;10302&quot;&gt;&lt;property id=&quot;20148&quot; value=&quot;5&quot;/&gt;&lt;property id=&quot;20300&quot; value=&quot;Slide 74 - &amp;quot;Product Owner&amp;quot;&quot;/&gt;&lt;property id=&quot;20307&quot; value=&quot;1675&quot;/&gt;&lt;/object&gt;&lt;object type=&quot;3&quot; unique_id=&quot;10303&quot;&gt;&lt;property id=&quot;20148&quot; value=&quot;5&quot;/&gt;&lt;property id=&quot;20300&quot; value=&quot;Slide 75 - &amp;quot;Sprint Planning&amp;quot;&quot;/&gt;&lt;property id=&quot;20307&quot; value=&quot;1595&quot;/&gt;&lt;/object&gt;&lt;object type=&quot;3&quot; unique_id=&quot;10304&quot;&gt;&lt;property id=&quot;20148&quot; value=&quot;5&quot;/&gt;&lt;property id=&quot;20300&quot; value=&quot;Slide 76 - &amp;quot;Sprint Planning &amp;quot;&quot;/&gt;&lt;property id=&quot;20307&quot; value=&quot;1596&quot;/&gt;&lt;/object&gt;&lt;object type=&quot;3&quot; unique_id=&quot;10305&quot;&gt;&lt;property id=&quot;20148&quot; value=&quot;5&quot;/&gt;&lt;property id=&quot;20300&quot; value=&quot;Slide 77 - &amp;quot;Managing the sprint&amp;quot;&quot;/&gt;&lt;property id=&quot;20307&quot; value=&quot;1540&quot;/&gt;&lt;/object&gt;&lt;object type=&quot;3&quot; unique_id=&quot;10306&quot;&gt;&lt;property id=&quot;20148&quot; value=&quot;5&quot;/&gt;&lt;property id=&quot;20300&quot; value=&quot;Slide 78 - &amp;quot;Managing the sprint&amp;quot;&quot;/&gt;&lt;property id=&quot;20307&quot; value=&quot;1541&quot;/&gt;&lt;/object&gt;&lt;object type=&quot;3&quot; unique_id=&quot;10307&quot;&gt;&lt;property id=&quot;20148&quot; value=&quot;5&quot;/&gt;&lt;property id=&quot;20300&quot; value=&quot;Slide 79 - &amp;quot;Managing the sprint&amp;quot;&quot;/&gt;&lt;property id=&quot;20307&quot; value=&quot;1568&quot;/&gt;&lt;/object&gt;&lt;object type=&quot;3&quot; unique_id=&quot;10310&quot;&gt;&lt;property id=&quot;20148&quot; value=&quot;5&quot;/&gt;&lt;property id=&quot;20300&quot; value=&quot;Slide 80 - &amp;quot;Sprint cycle success factors&amp;quot;&quot;/&gt;&lt;property id=&quot;20307&quot; value=&quot;1571&quot;/&gt;&lt;/object&gt;&lt;object type=&quot;3&quot; unique_id=&quot;10320&quot;&gt;&lt;property id=&quot;20148&quot; value=&quot;5&quot;/&gt;&lt;property id=&quot;20300&quot; value=&quot;Slide 81 - &amp;quot;Training roadmap, day 2&amp;quot;&quot;/&gt;&lt;property id=&quot;20307&quot; value=&quot;1700&quot;/&gt;&lt;/object&gt;&lt;object type=&quot;3&quot; unique_id=&quot;10321&quot;&gt;&lt;property id=&quot;20148&quot; value=&quot;5&quot;/&gt;&lt;property id=&quot;20300&quot; value=&quot;Slide 82 - &amp;quot;Release&amp;quot;&quot;/&gt;&lt;property id=&quot;20307&quot; value=&quot;1354&quot;/&gt;&lt;/object&gt;&lt;object type=&quot;3&quot; unique_id=&quot;10322&quot;&gt;&lt;property id=&quot;20148&quot; value=&quot;5&quot;/&gt;&lt;property id=&quot;20300&quot; value=&quot;Slide 83 - &amp;quot;Release phase&amp;quot;&quot;/&gt;&lt;property id=&quot;20307&quot; value=&quot;1502&quot;/&gt;&lt;/object&gt;&lt;object type=&quot;3&quot; unique_id=&quot;10325&quot;&gt;&lt;property id=&quot;20148&quot; value=&quot;5&quot;/&gt;&lt;property id=&quot;20300&quot; value=&quot;Slide 84 - &amp;quot;Simulation debrief&amp;quot;&quot;/&gt;&lt;property id=&quot;20307&quot; value=&quot;1357&quot;/&gt;&lt;/object&gt;&lt;object type=&quot;3&quot; unique_id=&quot;10326&quot;&gt;&lt;property id=&quot;20148&quot; value=&quot;5&quot;/&gt;&lt;property id=&quot;20300&quot; value=&quot;Slide 85 - &amp;quot;Training roadmap, day 2&amp;quot;&quot;/&gt;&lt;property id=&quot;20307&quot; value=&quot;1704&quot;/&gt;&lt;/object&gt;&lt;object type=&quot;3&quot; unique_id=&quot;10327&quot;&gt;&lt;property id=&quot;20148&quot; value=&quot;5&quot;/&gt;&lt;property id=&quot;20300&quot; value=&quot;Slide 86 - &amp;quot;Additional topics&amp;quot;&quot;/&gt;&lt;property id=&quot;20307&quot; value=&quot;1586&quot;/&gt;&lt;/object&gt;&lt;object type=&quot;3&quot; unique_id=&quot;10328&quot;&gt;&lt;property id=&quot;20148&quot; value=&quot;5&quot;/&gt;&lt;property id=&quot;20300&quot; value=&quot;Slide 87 - &amp;quot;Realities of working across hybrid projects&amp;quot;&quot;/&gt;&lt;property id=&quot;20307&quot; value=&quot;1701&quot;/&gt;&lt;/object&gt;&lt;object type=&quot;3&quot; unique_id=&quot;10329&quot;&gt;&lt;property id=&quot;20148&quot; value=&quot;5&quot;/&gt;&lt;property id=&quot;20300&quot; value=&quot;Slide 88 - &amp;quot;Many factors influence the right approach for a project &amp;quot;&quot;/&gt;&lt;property id=&quot;20307&quot; value=&quot;1729&quot;/&gt;&lt;/object&gt;&lt;object type=&quot;3&quot; unique_id=&quot;10330&quot;&gt;&lt;property id=&quot;20148&quot; value=&quot;5&quot;/&gt;&lt;property id=&quot;20300&quot; value=&quot;Slide 89 - &amp;quot;Working with common project constraints &amp;quot;&quot;/&gt;&lt;property id=&quot;20307&quot; value=&quot;1730&quot;/&gt;&lt;/object&gt;&lt;object type=&quot;3&quot; unique_id=&quot;10331&quot;&gt;&lt;property id=&quot;20148&quot; value=&quot;5&quot;/&gt;&lt;property id=&quot;20300&quot; value=&quot;Slide 90 - &amp;quot;What do we want to retain when applying agile techniques?&amp;quot;&quot;/&gt;&lt;property id=&quot;20307&quot; value=&quot;1731&quot;/&gt;&lt;/object&gt;&lt;object type=&quot;3&quot; unique_id=&quot;10332&quot;&gt;&lt;property id=&quot;20148&quot; value=&quot;5&quot;/&gt;&lt;property id=&quot;20300&quot; value=&quot;Slide 91 - &amp;quot;Iterative vs. Incremental&amp;quot;&quot;/&gt;&lt;property id=&quot;20307&quot; value=&quot;1732&quot;/&gt;&lt;/object&gt;&lt;object type=&quot;3&quot; unique_id=&quot;10333&quot;&gt;&lt;property id=&quot;20148&quot; value=&quot;5&quot;/&gt;&lt;property id=&quot;20300&quot; value=&quot;Slide 92 - &amp;quot;Framework for applying agile techniques  &amp;quot;&quot;/&gt;&lt;property id=&quot;20307&quot; value=&quot;1733&quot;/&gt;&lt;/object&gt;&lt;object type=&quot;3&quot; unique_id=&quot;10334&quot;&gt;&lt;property id=&quot;20148&quot; value=&quot;5&quot;/&gt;&lt;property id=&quot;20300&quot; value=&quot;Slide 93 - &amp;quot;Applying agile techniques our way &amp;quot;&quot;/&gt;&lt;property id=&quot;20307&quot; value=&quot;1734&quot;/&gt;&lt;/object&gt;&lt;object type=&quot;3&quot; unique_id=&quot;10335&quot;&gt;&lt;property id=&quot;20148&quot; value=&quot;5&quot;/&gt;&lt;property id=&quot;20300&quot; value=&quot;Slide 94 - &amp;quot;The master plan should be consistent with the broader deployment strategy &amp;quot;&quot;/&gt;&lt;property id=&quot;20307&quot; value=&quot;1735&quot;/&gt;&lt;/object&gt;&lt;object type=&quot;3&quot; unique_id=&quot;10336&quot;&gt;&lt;property id=&quot;20148&quot; value=&quot;5&quot;/&gt;&lt;property id=&quot;20300&quot; value=&quot;Slide 95 - &amp;quot;Essential EVD Work Products for hybrid projects&amp;quot;&quot;/&gt;&lt;property id=&quot;20307&quot; value=&quot;1736&quot;/&gt;&lt;/object&gt;&lt;object type=&quot;3&quot; unique_id=&quot;10337&quot;&gt;&lt;property id=&quot;20148&quot; value=&quot;5&quot;/&gt;&lt;property id=&quot;20300&quot; value=&quot;Slide 96 - &amp;quot;Develop control processes&amp;quot;&quot;/&gt;&lt;property id=&quot;20307&quot; value=&quot;1737&quot;/&gt;&lt;/object&gt;&lt;object type=&quot;3&quot; unique_id=&quot;10338&quot;&gt;&lt;property id=&quot;20148&quot; value=&quot;5&quot;/&gt;&lt;property id=&quot;20300&quot; value=&quot;Slide 97 - &amp;quot;Traditional (non-agile) activities of Sprint 0 and early Design&amp;quot;&quot;/&gt;&lt;property id=&quot;20307&quot; value=&quot;1738&quot;/&gt;&lt;/object&gt;&lt;object type=&quot;3&quot; unique_id=&quot;10342&quot;&gt;&lt;property id=&quot;20148&quot; value=&quot;5&quot;/&gt;&lt;property id=&quot;20300&quot; value=&quot;Slide 98 - &amp;quot;Discovery/Analyze Sprint 0 – Bringing it all together&amp;quot;&quot;/&gt;&lt;property id=&quot;20307&quot; value=&quot;1742&quot;/&gt;&lt;/object&gt;&lt;object type=&quot;3&quot; unique_id=&quot;10343&quot;&gt;&lt;property id=&quot;20148&quot; value=&quot;5&quot;/&gt;&lt;property id=&quot;20300&quot; value=&quot;Slide 99&quot;/&gt;&lt;property id=&quot;20307&quot; value=&quot;1612&quot;/&gt;&lt;/object&gt;&lt;object type=&quot;3&quot; unique_id=&quot;10344&quot;&gt;&lt;property id=&quot;20148&quot; value=&quot;5&quot;/&gt;&lt;property id=&quot;20300&quot; value=&quot;Slide 100 - &amp;quot;Why is OCM an important consideration in Agile?&amp;quot;&quot;/&gt;&lt;property id=&quot;20307&quot; value=&quot;1613&quot;/&gt;&lt;/object&gt;&lt;object type=&quot;3&quot; unique_id=&quot;10345&quot;&gt;&lt;property id=&quot;20148&quot; value=&quot;5&quot;/&gt;&lt;property id=&quot;20300&quot; value=&quot;Slide 101 - &amp;quot;Agile OCM Enhancements&amp;quot;&quot;/&gt;&lt;property id=&quot;20307&quot; value=&quot;1673&quot;/&gt;&lt;/object&gt;&lt;object type=&quot;3&quot; unique_id=&quot;10346&quot;&gt;&lt;property id=&quot;20148&quot; value=&quot;5&quot;/&gt;&lt;property id=&quot;20300&quot; value=&quot;Slide 102&quot;/&gt;&lt;property id=&quot;20307&quot; value=&quot;1614&quot;/&gt;&lt;/object&gt;&lt;object type=&quot;3&quot; unique_id=&quot;10347&quot;&gt;&lt;property id=&quot;20148&quot; value=&quot;5&quot;/&gt;&lt;property id=&quot;20300&quot; value=&quot;Slide 103 - &amp;quot;Splitting User Stories&amp;quot;&quot;/&gt;&lt;property id=&quot;20307&quot; value=&quot;1662&quot;/&gt;&lt;/object&gt;&lt;object type=&quot;3&quot; unique_id=&quot;10348&quot;&gt;&lt;property id=&quot;20148&quot; value=&quot;5&quot;/&gt;&lt;property id=&quot;20300&quot; value=&quot;Slide 104 - &amp;quot;Techniques for decomposing user stories (recap) &amp;quot;&quot;/&gt;&lt;property id=&quot;20307&quot; value=&quot;1663&quot;/&gt;&lt;/object&gt;&lt;object type=&quot;3&quot; unique_id=&quot;10349&quot;&gt;&lt;property id=&quot;20148&quot; value=&quot;5&quot;/&gt;&lt;property id=&quot;20300&quot; value=&quot;Slide 105 - &amp;quot;Examples of how to decompose user stories to the correct level &amp;quot;&quot;/&gt;&lt;property id=&quot;20307&quot; value=&quot;1664&quot;/&gt;&lt;/object&gt;&lt;object type=&quot;3&quot; unique_id=&quot;10350&quot;&gt;&lt;property id=&quot;20148&quot; value=&quot;5&quot;/&gt;&lt;property id=&quot;20300&quot; value=&quot;Slide 106&quot;/&gt;&lt;property id=&quot;20307&quot; value=&quot;1621&quot;/&gt;&lt;/object&gt;&lt;object type=&quot;3&quot; unique_id=&quot;10351&quot;&gt;&lt;property id=&quot;20148&quot; value=&quot;5&quot;/&gt;&lt;property id=&quot;20300&quot; value=&quot;Slide 107 - &amp;quot;Scaled Agile Framework (SAFe) 4.5&amp;quot;&quot;/&gt;&lt;property id=&quot;20307&quot; value=&quot;1618&quot;/&gt;&lt;/object&gt;&lt;object type=&quot;3&quot; unique_id=&quot;10352&quot;&gt;&lt;property id=&quot;20148&quot; value=&quot;5&quot;/&gt;&lt;property id=&quot;20300&quot; value=&quot;Slide 108 - &amp;quot;DevOps&amp;quot;&quot;/&gt;&lt;property id=&quot;20307&quot; value=&quot;1668&quot;/&gt;&lt;/object&gt;&lt;object type=&quot;3&quot; unique_id=&quot;10353&quot;&gt;&lt;property id=&quot;20148&quot; value=&quot;5&quot;/&gt;&lt;property id=&quot;20300&quot; value=&quot;Slide 109 - &amp;quot;What is DevOps?&amp;quot;&quot;/&gt;&lt;property id=&quot;20307&quot; value=&quot;1676&quot;/&gt;&lt;/object&gt;&lt;object type=&quot;3&quot; unique_id=&quot;10354&quot;&gt;&lt;property id=&quot;20148&quot; value=&quot;5&quot;/&gt;&lt;property id=&quot;20300&quot; value=&quot;Slide 110 - &amp;quot;Where do agile and DevOps fit in the software delivery lifecycle? &amp;quot;&quot;/&gt;&lt;property id=&quot;20307&quot; value=&quot;1678&quot;/&gt;&lt;/object&gt;&lt;object type=&quot;3&quot; unique_id=&quot;10355&quot;&gt;&lt;property id=&quot;20148&quot; value=&quot;5&quot;/&gt;&lt;property id=&quot;20300&quot; value=&quot;Slide 111 - &amp;quot;Summary&amp;quot;&quot;/&gt;&lt;property id=&quot;20307&quot; value=&quot;1679&quot;/&gt;&lt;/object&gt;&lt;object type=&quot;3&quot; unique_id=&quot;10356&quot;&gt;&lt;property id=&quot;20148&quot; value=&quot;5&quot;/&gt;&lt;property id=&quot;20300&quot; value=&quot;Slide 112 - &amp;quot;Training roadmap, day 2&amp;quot;&quot;/&gt;&lt;property id=&quot;20307&quot; value=&quot;1705&quot;/&gt;&lt;/object&gt;&lt;object type=&quot;3&quot; unique_id=&quot;10357&quot;&gt;&lt;property id=&quot;20148&quot; value=&quot;5&quot;/&gt;&lt;property id=&quot;20300&quot; value=&quot;Slide 113 - &amp;quot;Resources and support&amp;quot;&quot;/&gt;&lt;property id=&quot;20307&quot; value=&quot;1043&quot;/&gt;&lt;/object&gt;&lt;object type=&quot;3&quot; unique_id=&quot;10358&quot;&gt;&lt;property id=&quot;20148&quot; value=&quot;5&quot;/&gt;&lt;property id=&quot;20300&quot; value=&quot;Slide 114 - &amp;quot;Answers to some questions that are outside of the scope of this course&amp;quot;&quot;/&gt;&lt;property id=&quot;20307&quot; value=&quot;1603&quot;/&gt;&lt;/object&gt;&lt;object type=&quot;3&quot; unique_id=&quot;10359&quot;&gt;&lt;property id=&quot;20148&quot; value=&quot;5&quot;/&gt;&lt;property id=&quot;20300&quot; value=&quot;Slide 115 - &amp;quot;Agile &amp;amp; Hybrid webpage&amp;quot;&quot;/&gt;&lt;property id=&quot;20307&quot; value=&quot;1407&quot;/&gt;&lt;/object&gt;&lt;object type=&quot;3&quot; unique_id=&quot;10360&quot;&gt;&lt;property id=&quot;20148&quot; value=&quot;5&quot;/&gt;&lt;property id=&quot;20300&quot; value=&quot;Slide 116 - &amp;quot;Agile and hybrid learning resources consolidated in one location!&amp;quot;&quot;/&gt;&lt;property id=&quot;20307&quot; value=&quot;1046&quot;/&gt;&lt;/object&gt;&lt;object type=&quot;3&quot; unique_id=&quot;10361&quot;&gt;&lt;property id=&quot;20148&quot; value=&quot;5&quot;/&gt;&lt;property id=&quot;20300&quot; value=&quot;Slide 117 - &amp;quot;Method resource centers (MRC)&amp;quot;&quot;/&gt;&lt;property id=&quot;20307&quot; value=&quot;1462&quot;/&gt;&lt;/object&gt;&lt;object type=&quot;3&quot; unique_id=&quot;10362&quot;&gt;&lt;property id=&quot;20148&quot; value=&quot;5&quot;/&gt;&lt;property id=&quot;20300&quot; value=&quot;Slide 118 - &amp;quot;Project Scoping Solution&amp;quot;&quot;/&gt;&lt;property id=&quot;20307&quot; value=&quot;1722&quot;/&gt;&lt;/object&gt;&lt;object type=&quot;3&quot; unique_id=&quot;10363&quot;&gt;&lt;property id=&quot;20148&quot; value=&quot;5&quot;/&gt;&lt;property id=&quot;20300&quot; value=&quot;Slide 119 - &amp;quot;Discovery in a Box&amp;quot;&quot;/&gt;&lt;property id=&quot;20307&quot; value=&quot;1501&quot;/&gt;&lt;/object&gt;&lt;object type=&quot;3&quot; unique_id=&quot;10364&quot;&gt;&lt;property id=&quot;20148&quot; value=&quot;5&quot;/&gt;&lt;property id=&quot;20300&quot; value=&quot;Slide 120 - &amp;quot;Enabling tools across the lifecycle – learn more at the CMT Enabling Tools site&amp;quot;&quot;/&gt;&lt;property id=&quot;20307&quot; value=&quot;1573&quot;/&gt;&lt;/object&gt;&lt;object type=&quot;3&quot; unique_id=&quot;10365&quot;&gt;&lt;property id=&quot;20148&quot; value=&quot;5&quot;/&gt;&lt;property id=&quot;20300&quot; value=&quot;Slide 123 - &amp;quot;CMT Master Series – part of the Tech Fluency Program&amp;quot;&quot;/&gt;&lt;property id=&quot;20307&quot; value=&quot;1574&quot;/&gt;&lt;/object&gt;&lt;object type=&quot;3&quot; unique_id=&quot;10366&quot;&gt;&lt;property id=&quot;20148&quot; value=&quot;5&quot;/&gt;&lt;property id=&quot;20300&quot; value=&quot;Slide 124 - &amp;quot;Project Launch Services&amp;quot;&quot;/&gt;&lt;property id=&quot;20307&quot; value=&quot;1461&quot;/&gt;&lt;/object&gt;&lt;object type=&quot;3&quot; unique_id=&quot;10367&quot;&gt;&lt;property id=&quot;20148&quot; value=&quot;5&quot;/&gt;&lt;property id=&quot;20300&quot; value=&quot;Slide 125 - &amp;quot;Day 2 Wrap up&amp;quot;&quot;/&gt;&lt;property id=&quot;20307&quot; value=&quot;1358&quot;/&gt;&lt;/object&gt;&lt;object type=&quot;3&quot; unique_id=&quot;10368&quot;&gt;&lt;property id=&quot;20148&quot; value=&quot;5&quot;/&gt;&lt;property id=&quot;20300&quot; value=&quot;Slide 126&quot;/&gt;&lt;property id=&quot;20307&quot; value=&quot;1575&quot;/&gt;&lt;/object&gt;&lt;object type=&quot;3&quot; unique_id=&quot;10369&quot;&gt;&lt;property id=&quot;20148&quot; value=&quot;5&quot;/&gt;&lt;property id=&quot;20300&quot; value=&quot;Slide 127 - &amp;quot;Learning objectives&amp;quot;&quot;/&gt;&lt;property id=&quot;20307&quot; value=&quot;1511&quot;/&gt;&lt;/object&gt;&lt;object type=&quot;3&quot; unique_id=&quot;10370&quot;&gt;&lt;property id=&quot;20148&quot; value=&quot;5&quot;/&gt;&lt;property id=&quot;20300&quot; value=&quot;Slide 128 - &amp;quot;Day 2 retrospective&amp;quot;&quot;/&gt;&lt;property id=&quot;20307&quot; value=&quot;1076&quot;/&gt;&lt;/object&gt;&lt;object type=&quot;3&quot; unique_id=&quot;10371&quot;&gt;&lt;property id=&quot;20148&quot; value=&quot;5&quot;/&gt;&lt;property id=&quot;20300&quot; value=&quot;Slide 129 - &amp;quot;Poll Everywhere Attendance slide &amp;quot;&quot;/&gt;&lt;property id=&quot;20307&quot; value=&quot;1361&quot;/&gt;&lt;/object&gt;&lt;object type=&quot;3&quot; unique_id=&quot;10372&quot;&gt;&lt;property id=&quot;20148&quot; value=&quot;5&quot;/&gt;&lt;property id=&quot;20300&quot; value=&quot;Slide 130&quot;/&gt;&lt;property id=&quot;20307&quot; value=&quot;1363&quot;/&gt;&lt;/object&gt;&lt;object type=&quot;3&quot; unique_id=&quot;10373&quot;&gt;&lt;property id=&quot;20148&quot; value=&quot;5&quot;/&gt;&lt;property id=&quot;20300&quot; value=&quot;Slide 131 - &amp;quot;Appendix – Agile team roles&amp;quot;&quot;/&gt;&lt;property id=&quot;20307&quot; value=&quot;1364&quot;/&gt;&lt;/object&gt;&lt;object type=&quot;3&quot; unique_id=&quot;10374&quot;&gt;&lt;property id=&quot;20148&quot; value=&quot;5&quot;/&gt;&lt;property id=&quot;20300&quot; value=&quot;Slide 132 - &amp;quot;Scrum team roles – Overview &amp;quot;&quot;/&gt;&lt;property id=&quot;20307&quot; value=&quot;1365&quot;/&gt;&lt;/object&gt;&lt;object type=&quot;3&quot; unique_id=&quot;10375&quot;&gt;&lt;property id=&quot;20148&quot; value=&quot;5&quot;/&gt;&lt;property id=&quot;20300&quot; value=&quot;Slide 133 - &amp;quot;Appendix - Estimating&amp;quot;&quot;/&gt;&lt;property id=&quot;20307&quot; value=&quot;1366&quot;/&gt;&lt;/object&gt;&lt;object type=&quot;3&quot; unique_id=&quot;10376&quot;&gt;&lt;property id=&quot;20148&quot; value=&quot;5&quot;/&gt;&lt;property id=&quot;20300&quot; value=&quot;Slide 134 - &amp;quot;Estimating in Agile - Relative Estimation&amp;quot;&quot;/&gt;&lt;property id=&quot;20307&quot; value=&quot;1367&quot;/&gt;&lt;/object&gt;&lt;object type=&quot;3&quot; unique_id=&quot;10377&quot;&gt;&lt;property id=&quot;20148&quot; value=&quot;5&quot;/&gt;&lt;property id=&quot;20300&quot; value=&quot;Slide 135 - &amp;quot;Relative estimation – Story Point estimation&amp;quot;&quot;/&gt;&lt;property id=&quot;20307&quot; value=&quot;1368&quot;/&gt;&lt;/object&gt;&lt;object type=&quot;3&quot; unique_id=&quot;10378&quot;&gt;&lt;property id=&quot;20148&quot; value=&quot;5&quot;/&gt;&lt;property id=&quot;20300&quot; value=&quot;Slide 136 - &amp;quot;Relative estimation – Story Point estimation (continued)&amp;quot;&quot;/&gt;&lt;property id=&quot;20307&quot; value=&quot;1369&quot;/&gt;&lt;/object&gt;&lt;object type=&quot;3&quot; unique_id=&quot;10379&quot;&gt;&lt;property id=&quot;20148&quot; value=&quot;5&quot;/&gt;&lt;property id=&quot;20300&quot; value=&quot;Slide 137 - &amp;quot;Sprint Planning&amp;quot;&quot;/&gt;&lt;property id=&quot;20307&quot; value=&quot;1491&quot;/&gt;&lt;/object&gt;&lt;object type=&quot;3&quot; unique_id=&quot;10380&quot;&gt;&lt;property id=&quot;20148&quot; value=&quot;5&quot;/&gt;&lt;property id=&quot;20300&quot; value=&quot;Slide 138 - &amp;quot;Sprint Planning&amp;quot;&quot;/&gt;&lt;property id=&quot;20307&quot; value=&quot;1492&quot;/&gt;&lt;/object&gt;&lt;object type=&quot;3&quot; unique_id=&quot;10381&quot;&gt;&lt;property id=&quot;20148&quot; value=&quot;5&quot;/&gt;&lt;property id=&quot;20300&quot; value=&quot;Slide 139 - &amp;quot;Daily Stand-up&amp;quot;&quot;/&gt;&lt;property id=&quot;20307&quot; value=&quot;1493&quot;/&gt;&lt;/object&gt;&lt;object type=&quot;3&quot; unique_id=&quot;10382&quot;&gt;&lt;property id=&quot;20148&quot; value=&quot;5&quot;/&gt;&lt;property id=&quot;20300&quot; value=&quot;Slide 140 - &amp;quot;Impediment List&amp;quot;&quot;/&gt;&lt;property id=&quot;20307&quot; value=&quot;1494&quot;/&gt;&lt;/object&gt;&lt;object type=&quot;3&quot; unique_id=&quot;10383&quot;&gt;&lt;property id=&quot;20148&quot; value=&quot;5&quot;/&gt;&lt;property id=&quot;20300&quot; value=&quot;Slide 141 - &amp;quot;What is Product Backlog Refinement?&amp;quot;&quot;/&gt;&lt;property id=&quot;20307&quot; value=&quot;1495&quot;/&gt;&lt;/object&gt;&lt;object type=&quot;3&quot; unique_id=&quot;10384&quot;&gt;&lt;property id=&quot;20148&quot; value=&quot;5&quot;/&gt;&lt;property id=&quot;20300&quot; value=&quot;Slide 142 - &amp;quot;Sprint Review&amp;quot;&quot;/&gt;&lt;property id=&quot;20307&quot; value=&quot;1496&quot;/&gt;&lt;/object&gt;&lt;object type=&quot;3&quot; unique_id=&quot;10385&quot;&gt;&lt;property id=&quot;20148&quot; value=&quot;5&quot;/&gt;&lt;property id=&quot;20300&quot; value=&quot;Slide 143 - &amp;quot;Sprint Retrospective&amp;quot;&quot;/&gt;&lt;property id=&quot;20307&quot; value=&quot;1497&quot;/&gt;&lt;/object&gt;&lt;object type=&quot;3&quot; unique_id=&quot;10386&quot;&gt;&lt;property id=&quot;20148&quot; value=&quot;5&quot;/&gt;&lt;property id=&quot;20300&quot; value=&quot;Slide 144 - &amp;quot;Sprint Retrospective – The 4L approach&amp;quot;&quot;/&gt;&lt;property id=&quot;20307&quot; value=&quot;1498&quot;/&gt;&lt;/object&gt;&lt;object type=&quot;3&quot; unique_id=&quot;10387&quot;&gt;&lt;property id=&quot;20148&quot; value=&quot;5&quot;/&gt;&lt;property id=&quot;20300&quot; value=&quot;Slide 145 - &amp;quot;Appendix – Story Mapping&amp;quot;&quot;/&gt;&lt;property id=&quot;20307&quot; value=&quot;1372&quot;/&gt;&lt;/object&gt;&lt;object type=&quot;3&quot; unique_id=&quot;10388&quot;&gt;&lt;property id=&quot;20148&quot; value=&quot;5&quot;/&gt;&lt;property id=&quot;20300&quot; value=&quot;Slide 146 - &amp;quot;Story Mapping&amp;quot;&quot;/&gt;&lt;property id=&quot;20307&quot; value=&quot;1373&quot;/&gt;&lt;/object&gt;&lt;object type=&quot;3&quot; unique_id=&quot;10389&quot;&gt;&lt;property id=&quot;20148&quot; value=&quot;5&quot;/&gt;&lt;property id=&quot;20300&quot; value=&quot;Slide 147 - &amp;quot;How to Read a Story Map&amp;quot;&quot;/&gt;&lt;property id=&quot;20307&quot; value=&quot;1374&quot;/&gt;&lt;/object&gt;&lt;object type=&quot;3&quot; unique_id=&quot;10390&quot;&gt;&lt;property id=&quot;20148&quot; value=&quot;5&quot;/&gt;&lt;property id=&quot;20300&quot; value=&quot;Slide 148 - &amp;quot;How to prioritize a Story Map&amp;quot;&quot;/&gt;&lt;property id=&quot;20307&quot; value=&quot;1375&quot;/&gt;&lt;/object&gt;&lt;object type=&quot;3&quot; unique_id=&quot;10391&quot;&gt;&lt;property id=&quot;20148&quot; value=&quot;5&quot;/&gt;&lt;property id=&quot;20300&quot; value=&quot;Slide 149 - &amp;quot;How to identifying a MVP from a Story Map &amp;quot;&quot;/&gt;&lt;property id=&quot;20307&quot; value=&quot;1376&quot;/&gt;&lt;/object&gt;&lt;object type=&quot;3&quot; unique_id=&quot;10392&quot;&gt;&lt;property id=&quot;20148&quot; value=&quot;5&quot;/&gt;&lt;property id=&quot;20300&quot; value=&quot;Slide 150 - &amp;quot;Appendix – Capacity &amp;amp; Velocity&amp;quot;&quot;/&gt;&lt;property id=&quot;20307&quot; value=&quot;1377&quot;/&gt;&lt;/object&gt;&lt;object type=&quot;3&quot; unique_id=&quot;10393&quot;&gt;&lt;property id=&quot;20148&quot; value=&quot;5&quot;/&gt;&lt;property id=&quot;20300&quot; value=&quot;Slide 151 - &amp;quot;Estimating Capacity/Velocity&amp;quot;&quot;/&gt;&lt;property id=&quot;20307&quot; value=&quot;1378&quot;/&gt;&lt;/object&gt;&lt;object type=&quot;3&quot; unique_id=&quot;10394&quot;&gt;&lt;property id=&quot;20148&quot; value=&quot;5&quot;/&gt;&lt;property id=&quot;20300&quot; value=&quot;Slide 152 - &amp;quot;Estimating Capacity/Velocity&amp;quot;&quot;/&gt;&lt;property id=&quot;20307&quot; value=&quot;1379&quot;/&gt;&lt;/object&gt;&lt;object type=&quot;3&quot; unique_id=&quot;10395&quot;&gt;&lt;property id=&quot;20148&quot; value=&quot;5&quot;/&gt;&lt;property id=&quot;20300&quot; value=&quot;Slide 153 - &amp;quot;Estimating Capacity/Velocity &amp;quot;&quot;/&gt;&lt;property id=&quot;20307&quot; value=&quot;1380&quot;/&gt;&lt;/object&gt;&lt;object type=&quot;3&quot; unique_id=&quot;10396&quot;&gt;&lt;property id=&quot;20148&quot; value=&quot;5&quot;/&gt;&lt;property id=&quot;20300&quot; value=&quot;Slide 154&quot;/&gt;&lt;property id=&quot;20307&quot; value=&quot;1707&quot;/&gt;&lt;/object&gt;&lt;object type=&quot;3&quot; unique_id=&quot;10628&quot;&gt;&lt;property id=&quot;20148&quot; value=&quot;5&quot;/&gt;&lt;property id=&quot;20300&quot; value=&quot;Slide 11 - &amp;quot;What are agile methods? &amp;quot;&quot;/&gt;&lt;property id=&quot;20307&quot; value=&quot;1744&quot;/&gt;&lt;/object&gt;&lt;object type=&quot;3&quot; unique_id=&quot;10629&quot;&gt;&lt;property id=&quot;20148&quot; value=&quot;5&quot;/&gt;&lt;property id=&quot;20300&quot; value=&quot;Slide 22 - &amp;quot;Sample persona&amp;quot;&quot;/&gt;&lt;property id=&quot;20307&quot; value=&quot;1743&quot;/&gt;&lt;/object&gt;&lt;object type=&quot;3&quot; unique_id=&quot;10630&quot;&gt;&lt;property id=&quot;20148&quot; value=&quot;5&quot;/&gt;&lt;property id=&quot;20300&quot; value=&quot;Slide 121 - &amp;quot;Agile Tools Primer&amp;quot;&quot;/&gt;&lt;property id=&quot;20307&quot; value=&quot;1746&quot;/&gt;&lt;/object&gt;&lt;object type=&quot;3&quot; unique_id=&quot;10631&quot;&gt;&lt;property id=&quot;20148&quot; value=&quot;5&quot;/&gt;&lt;property id=&quot;20300&quot; value=&quot;Slide 122 - &amp;quot;Agile certifications&amp;quot;&quot;/&gt;&lt;property id=&quot;20307&quot; value=&quot;1747&quot;/&gt;&lt;/object&gt;&lt;/object&gt;&lt;/object&gt;&lt;/database&gt;"/>
  <p:tag name="SECTOMILLISECCONVERT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Deloitte_US_Onscreen">
  <a:themeElements>
    <a:clrScheme name="Deloitte US Color1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00A3E0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US 16_9_Onscreen.potx" id="{82E929E5-07E3-4FFC-922B-1DC2D1592D72}" vid="{34A8941C-3B27-4420-B6D1-6520D4ABD31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32D6BF06D6614EBE4C65C5846A6E74" ma:contentTypeVersion="5" ma:contentTypeDescription="Create a new document." ma:contentTypeScope="" ma:versionID="64090c3bf29138699cf3852b417ce984">
  <xsd:schema xmlns:xsd="http://www.w3.org/2001/XMLSchema" xmlns:xs="http://www.w3.org/2001/XMLSchema" xmlns:p="http://schemas.microsoft.com/office/2006/metadata/properties" xmlns:ns3="7e45c758-7806-4fe4-87b0-733748d4373b" xmlns:ns4="5469ec7e-38b7-4a34-8b0d-8741c130bd31" targetNamespace="http://schemas.microsoft.com/office/2006/metadata/properties" ma:root="true" ma:fieldsID="743cd277746887ffceef941c122c7136" ns3:_="" ns4:_="">
    <xsd:import namespace="7e45c758-7806-4fe4-87b0-733748d4373b"/>
    <xsd:import namespace="5469ec7e-38b7-4a34-8b0d-8741c130bd3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45c758-7806-4fe4-87b0-733748d4373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69ec7e-38b7-4a34-8b0d-8741c130bd3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469ec7e-38b7-4a34-8b0d-8741c130bd31">
      <UserInfo>
        <DisplayName>Pal, Anjali</DisplayName>
        <AccountId>11</AccountId>
        <AccountType/>
      </UserInfo>
      <UserInfo>
        <DisplayName>Mathur, Vinayak</DisplayName>
        <AccountId>14</AccountId>
        <AccountType/>
      </UserInfo>
      <UserInfo>
        <DisplayName>Amrutlal Chheda, Vishal</DisplayName>
        <AccountId>13</AccountId>
        <AccountType/>
      </UserInfo>
      <UserInfo>
        <DisplayName>Hebbar, Nikita</DisplayName>
        <AccountId>18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40B0864B-4A5F-4930-ACC9-CEAC51880AC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1259996-C9E3-4EE9-8AFF-AD5632C262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e45c758-7806-4fe4-87b0-733748d4373b"/>
    <ds:schemaRef ds:uri="5469ec7e-38b7-4a34-8b0d-8741c130bd3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03C5FF9-73CD-428F-AA11-E59B2F626766}">
  <ds:schemaRefs>
    <ds:schemaRef ds:uri="http://purl.org/dc/elements/1.1/"/>
    <ds:schemaRef ds:uri="http://schemas.microsoft.com/office/2006/metadata/properties"/>
    <ds:schemaRef ds:uri="7e45c758-7806-4fe4-87b0-733748d4373b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5469ec7e-38b7-4a34-8b0d-8741c130bd31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7081</TotalTime>
  <Words>914</Words>
  <Application>Microsoft Office PowerPoint</Application>
  <PresentationFormat>Widescreen</PresentationFormat>
  <Paragraphs>234</Paragraphs>
  <Slides>30</Slides>
  <Notes>3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9" baseType="lpstr">
      <vt:lpstr>Arial</vt:lpstr>
      <vt:lpstr>Calibri</vt:lpstr>
      <vt:lpstr>Courier New</vt:lpstr>
      <vt:lpstr>Montserrat</vt:lpstr>
      <vt:lpstr>Roboto</vt:lpstr>
      <vt:lpstr>Verdana</vt:lpstr>
      <vt:lpstr>Wingdings 2</vt:lpstr>
      <vt:lpstr>Deloitte_US_Onscreen</vt:lpstr>
      <vt:lpstr>think-cell Slide</vt:lpstr>
      <vt:lpstr>PowerPoint Presentation</vt:lpstr>
      <vt:lpstr>What is Machine Learning?</vt:lpstr>
      <vt:lpstr>History of Machine learning</vt:lpstr>
      <vt:lpstr>Overview of Machine Learning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upervised Learning</vt:lpstr>
      <vt:lpstr>PowerPoint Presentation</vt:lpstr>
      <vt:lpstr>Types of Supervised Learning Problems</vt:lpstr>
      <vt:lpstr>Supervised Learning Algorithms</vt:lpstr>
      <vt:lpstr>PowerPoint Presentation</vt:lpstr>
      <vt:lpstr>PowerPoint Presentation</vt:lpstr>
      <vt:lpstr>PowerPoint Presentation</vt:lpstr>
      <vt:lpstr>PowerPoint Presentation</vt:lpstr>
      <vt:lpstr>Unsupervised Learning</vt:lpstr>
      <vt:lpstr>PowerPoint Presentation</vt:lpstr>
      <vt:lpstr>Types of Unsupervised Learning Problems</vt:lpstr>
      <vt:lpstr>Unsupervised Learning Algorithms</vt:lpstr>
      <vt:lpstr>PowerPoint Presentation</vt:lpstr>
      <vt:lpstr>PowerPoint Presentation</vt:lpstr>
      <vt:lpstr>PowerPoint Presentation</vt:lpstr>
      <vt:lpstr>PowerPoint Presentation</vt:lpstr>
      <vt:lpstr>Underfitting and Overfitting</vt:lpstr>
      <vt:lpstr>PowerPoint Presentation</vt:lpstr>
      <vt:lpstr>PowerPoint Presentation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loitte PowerPoint template</dc:title>
  <dc:creator>Chaturvedi, Ritambhara</dc:creator>
  <cp:lastModifiedBy>Karkun, Sachin</cp:lastModifiedBy>
  <cp:revision>1620</cp:revision>
  <cp:lastPrinted>2018-05-17T08:44:00Z</cp:lastPrinted>
  <dcterms:created xsi:type="dcterms:W3CDTF">2016-06-27T09:57:51Z</dcterms:created>
  <dcterms:modified xsi:type="dcterms:W3CDTF">2020-06-18T07:27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32D6BF06D6614EBE4C65C5846A6E74</vt:lpwstr>
  </property>
  <property fmtid="{D5CDD505-2E9C-101B-9397-08002B2CF9AE}" pid="3" name="ArticulateGUID">
    <vt:lpwstr>618DF765-2BC9-4A6E-B561-B48219DB7689</vt:lpwstr>
  </property>
  <property fmtid="{D5CDD505-2E9C-101B-9397-08002B2CF9AE}" pid="4" name="ArticulatePath">
    <vt:lpwstr>https://americas.internal.deloitteonline.com/sites/CMTTCInternal/tcio/Training%20Standards/CMT%2016_9%20(Widescreen)%20PPT%20template</vt:lpwstr>
  </property>
  <property fmtid="{D5CDD505-2E9C-101B-9397-08002B2CF9AE}" pid="5" name="Local Content Type">
    <vt:lpwstr>3117;#Global:Learning:Course or Learning Event:Live Instructor-led Course|a223aa3a-fe0d-479d-9bae-b9f434b916e8</vt:lpwstr>
  </property>
  <property fmtid="{D5CDD505-2E9C-101B-9397-08002B2CF9AE}" pid="6" name="Primary Local Client">
    <vt:lpwstr>14531;#Global:Consulting|d7613191-e577-42d3-8929-dcd47fe5db18</vt:lpwstr>
  </property>
  <property fmtid="{D5CDD505-2E9C-101B-9397-08002B2CF9AE}" pid="7" name="Badge">
    <vt:lpwstr/>
  </property>
  <property fmtid="{D5CDD505-2E9C-101B-9397-08002B2CF9AE}" pid="8" name="Applicable Geography">
    <vt:lpwstr>375;#Global|f12aef73-b423-4016-a43f-15722d3a0a5e</vt:lpwstr>
  </property>
  <property fmtid="{D5CDD505-2E9C-101B-9397-08002B2CF9AE}" pid="9" name="Secondary Local Indu">
    <vt:lpwstr/>
  </property>
  <property fmtid="{D5CDD505-2E9C-101B-9397-08002B2CF9AE}" pid="10" name="Primary Local Indust">
    <vt:lpwstr/>
  </property>
  <property fmtid="{D5CDD505-2E9C-101B-9397-08002B2CF9AE}" pid="11" name="Geography of Origin">
    <vt:lpwstr>14519;#Americas (Region):United States (MF):United States|8cb0099f-1dbf-4b3c-9b7f-d98051a79fa3</vt:lpwstr>
  </property>
  <property fmtid="{D5CDD505-2E9C-101B-9397-08002B2CF9AE}" pid="12" name="KAM Language">
    <vt:lpwstr>14511;#English|b169a262-1aaa-4ccb-9acf-78a36c1d9bab</vt:lpwstr>
  </property>
  <property fmtid="{D5CDD505-2E9C-101B-9397-08002B2CF9AE}" pid="13" name="Primary Global Client">
    <vt:lpwstr>24;#Consulting|d7613191-e577-42d3-8929-dcd47fe5db18</vt:lpwstr>
  </property>
  <property fmtid="{D5CDD505-2E9C-101B-9397-08002B2CF9AE}" pid="14" name="Secondary Global Indu">
    <vt:lpwstr/>
  </property>
  <property fmtid="{D5CDD505-2E9C-101B-9397-08002B2CF9AE}" pid="15" name="Secondary Global Clie">
    <vt:lpwstr/>
  </property>
  <property fmtid="{D5CDD505-2E9C-101B-9397-08002B2CF9AE}" pid="16" name="Primary Global Indust">
    <vt:lpwstr/>
  </property>
  <property fmtid="{D5CDD505-2E9C-101B-9397-08002B2CF9AE}" pid="17" name="Global Content Type">
    <vt:lpwstr>2890;#Learning:Course or Learning Event:Live Instructor-led Course|a223aa3a-fe0d-479d-9bae-b9f434b916e8</vt:lpwstr>
  </property>
  <property fmtid="{D5CDD505-2E9C-101B-9397-08002B2CF9AE}" pid="18" name="Local Internal Service">
    <vt:lpwstr/>
  </property>
  <property fmtid="{D5CDD505-2E9C-101B-9397-08002B2CF9AE}" pid="19" name="Global Internal Service">
    <vt:lpwstr/>
  </property>
  <property fmtid="{D5CDD505-2E9C-101B-9397-08002B2CF9AE}" pid="20" name="Secondary Local Clie">
    <vt:lpwstr/>
  </property>
  <property fmtid="{D5CDD505-2E9C-101B-9397-08002B2CF9AE}" pid="21" name="IPCO Designation">
    <vt:lpwstr>4014;#May be edited and used internally or externally for any purpose (Category D)|f8400f62-65c9-4658-9900-b0ea185e4722</vt:lpwstr>
  </property>
  <property fmtid="{D5CDD505-2E9C-101B-9397-08002B2CF9AE}" pid="22" name="_dlc_policyId">
    <vt:lpwstr/>
  </property>
  <property fmtid="{D5CDD505-2E9C-101B-9397-08002B2CF9AE}" pid="23" name="ItemRetentionFormula">
    <vt:lpwstr/>
  </property>
  <property fmtid="{D5CDD505-2E9C-101B-9397-08002B2CF9AE}" pid="24" name="Publishing Owning Te">
    <vt:lpwstr>16;#Consulting|7434a3af-136e-42a8-bb53-fcc906dbc283</vt:lpwstr>
  </property>
  <property fmtid="{D5CDD505-2E9C-101B-9397-08002B2CF9AE}" pid="25" name="Publishing Owning Te0">
    <vt:lpwstr>Consulting|7434a3af-136e-42a8-bb53-fcc906dbc283</vt:lpwstr>
  </property>
  <property fmtid="{D5CDD505-2E9C-101B-9397-08002B2CF9AE}" pid="26" name="_docset_NoMedatataSyncRequired">
    <vt:lpwstr>False</vt:lpwstr>
  </property>
</Properties>
</file>